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6" r:id="rId4"/>
    <p:sldMasterId id="2147483758" r:id="rId5"/>
    <p:sldMasterId id="2147483708" r:id="rId6"/>
  </p:sldMasterIdLst>
  <p:notesMasterIdLst>
    <p:notesMasterId r:id="rId23"/>
  </p:notesMasterIdLst>
  <p:sldIdLst>
    <p:sldId id="2147474316" r:id="rId7"/>
    <p:sldId id="2147474320" r:id="rId8"/>
    <p:sldId id="357" r:id="rId9"/>
    <p:sldId id="349" r:id="rId10"/>
    <p:sldId id="2147474153" r:id="rId11"/>
    <p:sldId id="2147474160" r:id="rId12"/>
    <p:sldId id="355" r:id="rId13"/>
    <p:sldId id="2147474314" r:id="rId14"/>
    <p:sldId id="261" r:id="rId15"/>
    <p:sldId id="2147474150" r:id="rId16"/>
    <p:sldId id="2147474163" r:id="rId17"/>
    <p:sldId id="2147474317" r:id="rId18"/>
    <p:sldId id="2147474164" r:id="rId19"/>
    <p:sldId id="2147474315" r:id="rId20"/>
    <p:sldId id="2147474319" r:id="rId21"/>
    <p:sldId id="214747431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A291C"/>
    <a:srgbClr val="DB31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17"/>
    <p:restoredTop sz="81503" autoAdjust="0"/>
  </p:normalViewPr>
  <p:slideViewPr>
    <p:cSldViewPr snapToGrid="0">
      <p:cViewPr varScale="1">
        <p:scale>
          <a:sx n="149" d="100"/>
          <a:sy n="149" d="100"/>
        </p:scale>
        <p:origin x="856"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6B43FA-11D6-7741-A290-51A7BAC52C55}" type="datetimeFigureOut">
              <a:rPr lang="en-US" smtClean="0"/>
              <a:t>9/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149366-D800-3744-B17B-F9C688E8F62F}" type="slidenum">
              <a:rPr lang="en-US" smtClean="0"/>
              <a:t>‹#›</a:t>
            </a:fld>
            <a:endParaRPr lang="en-US"/>
          </a:p>
        </p:txBody>
      </p:sp>
    </p:spTree>
    <p:extLst>
      <p:ext uri="{BB962C8B-B14F-4D97-AF65-F5344CB8AC3E}">
        <p14:creationId xmlns:p14="http://schemas.microsoft.com/office/powerpoint/2010/main" val="2850428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enstream.com/"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www.loblaws.ca/" TargetMode="External"/><Relationship Id="rId4" Type="http://schemas.openxmlformats.org/officeDocument/2006/relationships/hyperlink" Target="https://www.colonynetworks.co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2EC055D-D678-4D1A-A050-A8CF2687D08F}" type="slidenum">
              <a:rPr lang="en-US" smtClean="0"/>
              <a:pPr/>
              <a:t>4</a:t>
            </a:fld>
            <a:endParaRPr lang="en-US"/>
          </a:p>
        </p:txBody>
      </p:sp>
    </p:spTree>
    <p:extLst>
      <p:ext uri="{BB962C8B-B14F-4D97-AF65-F5344CB8AC3E}">
        <p14:creationId xmlns:p14="http://schemas.microsoft.com/office/powerpoint/2010/main" val="2145656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CA" sz="1200" dirty="0">
                <a:effectLst/>
                <a:latin typeface="Calibri" panose="020F0502020204030204" pitchFamily="34" charset="0"/>
                <a:ea typeface="Calibri" panose="020F0502020204030204" pitchFamily="34" charset="0"/>
                <a:cs typeface="Arial" panose="020B0604020202020204" pitchFamily="34" charset="0"/>
              </a:rPr>
              <a:t>Rogers is working with Microsoft Azure on a new Azure Resource called “Azure Programable Connectivity (APC) .”Among other worldwide operators and competitors, Rogers will publish Network-as-a-Service GSMA Open Gateway Linux Foundation CAMARA API to focus on Fraud Prevention and Digital Identity Use Cases for Independent Software Vendors (ISV). Similar to how Rogers, Bell and Telus’s joint venture called </a:t>
            </a:r>
            <a:r>
              <a:rPr lang="en-CA" sz="1200" u="none" strike="noStrike"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Enstream</a:t>
            </a:r>
            <a:r>
              <a:rPr lang="en-CA" sz="1200" dirty="0">
                <a:effectLst/>
                <a:latin typeface="Calibri" panose="020F0502020204030204" pitchFamily="34" charset="0"/>
                <a:ea typeface="Calibri" panose="020F0502020204030204" pitchFamily="34" charset="0"/>
                <a:cs typeface="Arial" panose="020B0604020202020204" pitchFamily="34" charset="0"/>
              </a:rPr>
              <a:t> supports the Canadian banking industry with similar APIs and use cases.</a:t>
            </a:r>
          </a:p>
          <a:p>
            <a:pPr marL="342900" lvl="0" indent="-342900">
              <a:lnSpc>
                <a:spcPct val="107000"/>
              </a:lnSpc>
              <a:spcAft>
                <a:spcPts val="800"/>
              </a:spcAft>
              <a:buFont typeface="Arial" panose="020B0604020202020204" pitchFamily="34" charset="0"/>
              <a:buChar char="•"/>
            </a:pPr>
            <a:r>
              <a:rPr lang="en-CA" sz="1200" dirty="0">
                <a:effectLst/>
                <a:latin typeface="Calibri" panose="020F0502020204030204" pitchFamily="34" charset="0"/>
                <a:ea typeface="Calibri" panose="020F0502020204030204" pitchFamily="34" charset="0"/>
                <a:cs typeface="Arial" panose="020B0604020202020204" pitchFamily="34" charset="0"/>
              </a:rPr>
              <a:t>As a Mobile Network Operator, we partner with Colony Networks (</a:t>
            </a:r>
            <a:r>
              <a:rPr lang="en-CA" sz="1200" u="none" strike="noStrike"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www.colonynetworks.com</a:t>
            </a:r>
            <a:r>
              <a:rPr lang="en-CA" sz="1200" dirty="0">
                <a:effectLst/>
                <a:latin typeface="Calibri" panose="020F0502020204030204" pitchFamily="34" charset="0"/>
                <a:ea typeface="Calibri" panose="020F0502020204030204" pitchFamily="34" charset="0"/>
                <a:cs typeface="Arial" panose="020B0604020202020204" pitchFamily="34" charset="0"/>
              </a:rPr>
              <a:t>) to manage Fixed Wireless Access Points (FWA) and IoT devices, for business customers on our Network. We use geofencing for our Business Customers, like Loblaws (</a:t>
            </a:r>
            <a:r>
              <a:rPr lang="en-CA" sz="1200" u="none" strike="noStrike"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5"/>
              </a:rPr>
              <a:t>https://www.loblaws.ca</a:t>
            </a:r>
            <a:r>
              <a:rPr lang="en-CA" sz="1200" dirty="0">
                <a:effectLst/>
                <a:latin typeface="Calibri" panose="020F0502020204030204" pitchFamily="34" charset="0"/>
                <a:ea typeface="Calibri" panose="020F0502020204030204" pitchFamily="34" charset="0"/>
                <a:cs typeface="Arial" panose="020B0604020202020204" pitchFamily="34" charset="0"/>
              </a:rPr>
              <a:t>), to restrict their operations within a specific location matching their postal code within a fixed distance.</a:t>
            </a:r>
          </a:p>
          <a:p>
            <a:pPr marL="342900" lvl="0" indent="-342900">
              <a:lnSpc>
                <a:spcPct val="107000"/>
              </a:lnSpc>
              <a:spcAft>
                <a:spcPts val="800"/>
              </a:spcAft>
              <a:buFont typeface="Arial" panose="020B0604020202020204" pitchFamily="34" charset="0"/>
              <a:buChar char="•"/>
            </a:pPr>
            <a:r>
              <a:rPr lang="en-CA" sz="1200" dirty="0">
                <a:effectLst/>
                <a:latin typeface="Calibri" panose="020F0502020204030204" pitchFamily="34" charset="0"/>
                <a:ea typeface="Calibri" panose="020F0502020204030204" pitchFamily="34" charset="0"/>
                <a:cs typeface="Arial" panose="020B0604020202020204" pitchFamily="34" charset="0"/>
              </a:rPr>
              <a:t>Potential use cases for the Rogers APC are Auto-theft prevention, </a:t>
            </a:r>
            <a:r>
              <a:rPr lang="en-CA" sz="1200" b="1" dirty="0">
                <a:effectLst/>
                <a:latin typeface="Calibri" panose="020F0502020204030204" pitchFamily="34" charset="0"/>
                <a:ea typeface="Calibri" panose="020F0502020204030204" pitchFamily="34" charset="0"/>
                <a:cs typeface="Arial" panose="020B0604020202020204" pitchFamily="34" charset="0"/>
              </a:rPr>
              <a:t>Digital Identity</a:t>
            </a:r>
            <a:r>
              <a:rPr lang="en-CA" sz="1200" dirty="0">
                <a:effectLst/>
                <a:latin typeface="Calibri" panose="020F0502020204030204" pitchFamily="34" charset="0"/>
                <a:ea typeface="Calibri" panose="020F0502020204030204" pitchFamily="34" charset="0"/>
                <a:cs typeface="Arial" panose="020B0604020202020204" pitchFamily="34" charset="0"/>
              </a:rPr>
              <a:t>, and </a:t>
            </a:r>
            <a:r>
              <a:rPr lang="en-CA" sz="1200" b="1" dirty="0">
                <a:effectLst/>
                <a:latin typeface="Calibri" panose="020F0502020204030204" pitchFamily="34" charset="0"/>
                <a:ea typeface="Calibri" panose="020F0502020204030204" pitchFamily="34" charset="0"/>
                <a:cs typeface="Arial" panose="020B0604020202020204" pitchFamily="34" charset="0"/>
              </a:rPr>
              <a:t>Fraud Prevention</a:t>
            </a:r>
            <a:r>
              <a:rPr lang="en-CA" sz="1200" dirty="0">
                <a:effectLst/>
                <a:latin typeface="Calibri" panose="020F0502020204030204" pitchFamily="34" charset="0"/>
                <a:ea typeface="Calibri" panose="020F0502020204030204" pitchFamily="34" charset="0"/>
                <a:cs typeface="Arial" panose="020B0604020202020204" pitchFamily="34" charset="0"/>
              </a:rPr>
              <a:t> suite can be incorporated into Connected Car, and rules can be set for the car to only start within a specific geofence of the proximity of the owner’s mobile.</a:t>
            </a:r>
          </a:p>
          <a:p>
            <a:pPr marL="342900" lvl="0" indent="-342900">
              <a:lnSpc>
                <a:spcPct val="107000"/>
              </a:lnSpc>
              <a:spcAft>
                <a:spcPts val="800"/>
              </a:spcAft>
              <a:buFont typeface="Arial" panose="020B0604020202020204" pitchFamily="34" charset="0"/>
              <a:buChar char="•"/>
            </a:pPr>
            <a:r>
              <a:rPr lang="en-CA" sz="1200" dirty="0">
                <a:effectLst/>
                <a:latin typeface="Calibri" panose="020F0502020204030204" pitchFamily="34" charset="0"/>
                <a:ea typeface="Calibri" panose="020F0502020204030204" pitchFamily="34" charset="0"/>
                <a:cs typeface="Arial" panose="020B0604020202020204" pitchFamily="34" charset="0"/>
              </a:rPr>
              <a:t>We work with Technology platform teams like Jean Michel Dupuis’s 911 and Commercial Value-added Services (VAS) services to allow 3rd party programmatic access to mobile subscribers’ IT services and Network resources, such as Name, Addresses and real-time location queries and other supporting use-cases like fraud and digital identity by selling these API though hyper-scalers or aggregators.</a:t>
            </a:r>
          </a:p>
          <a:p>
            <a:endParaRPr lang="en-CA" dirty="0"/>
          </a:p>
        </p:txBody>
      </p:sp>
      <p:sp>
        <p:nvSpPr>
          <p:cNvPr id="4" name="Slide Number Placeholder 3"/>
          <p:cNvSpPr>
            <a:spLocks noGrp="1"/>
          </p:cNvSpPr>
          <p:nvPr>
            <p:ph type="sldNum" sz="quarter" idx="5"/>
          </p:nvPr>
        </p:nvSpPr>
        <p:spPr/>
        <p:txBody>
          <a:bodyPr/>
          <a:lstStyle/>
          <a:p>
            <a:fld id="{D2EC055D-D678-4D1A-A050-A8CF2687D08F}" type="slidenum">
              <a:rPr lang="en-US" smtClean="0"/>
              <a:pPr/>
              <a:t>6</a:t>
            </a:fld>
            <a:endParaRPr lang="en-US"/>
          </a:p>
        </p:txBody>
      </p:sp>
    </p:spTree>
    <p:extLst>
      <p:ext uri="{BB962C8B-B14F-4D97-AF65-F5344CB8AC3E}">
        <p14:creationId xmlns:p14="http://schemas.microsoft.com/office/powerpoint/2010/main" val="2620936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2EC055D-D678-4D1A-A050-A8CF2687D08F}" type="slidenum">
              <a:rPr lang="en-US" smtClean="0"/>
              <a:pPr/>
              <a:t>11</a:t>
            </a:fld>
            <a:endParaRPr lang="en-US"/>
          </a:p>
        </p:txBody>
      </p:sp>
    </p:spTree>
    <p:extLst>
      <p:ext uri="{BB962C8B-B14F-4D97-AF65-F5344CB8AC3E}">
        <p14:creationId xmlns:p14="http://schemas.microsoft.com/office/powerpoint/2010/main" val="1585702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FE402-123C-57DF-0D38-EA2B54C8E8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FB53B1-E794-0F44-EEE3-E984402A58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484F19-B518-4972-94C0-47ACF3EE0763}"/>
              </a:ext>
            </a:extLst>
          </p:cNvPr>
          <p:cNvSpPr>
            <a:spLocks noGrp="1"/>
          </p:cNvSpPr>
          <p:nvPr>
            <p:ph type="body" idx="1"/>
          </p:nvPr>
        </p:nvSpPr>
        <p:spPr/>
        <p:txBody>
          <a:bodyPr/>
          <a:lstStyle/>
          <a:p>
            <a:endParaRPr lang="en-CA" dirty="0"/>
          </a:p>
        </p:txBody>
      </p:sp>
      <p:sp>
        <p:nvSpPr>
          <p:cNvPr id="4" name="Slide Number Placeholder 3">
            <a:extLst>
              <a:ext uri="{FF2B5EF4-FFF2-40B4-BE49-F238E27FC236}">
                <a16:creationId xmlns:a16="http://schemas.microsoft.com/office/drawing/2014/main" id="{B2246525-12A7-BCC5-D9FD-96DE04E8B3BC}"/>
              </a:ext>
            </a:extLst>
          </p:cNvPr>
          <p:cNvSpPr>
            <a:spLocks noGrp="1"/>
          </p:cNvSpPr>
          <p:nvPr>
            <p:ph type="sldNum" sz="quarter" idx="5"/>
          </p:nvPr>
        </p:nvSpPr>
        <p:spPr/>
        <p:txBody>
          <a:bodyPr/>
          <a:lstStyle/>
          <a:p>
            <a:fld id="{D2EC055D-D678-4D1A-A050-A8CF2687D08F}" type="slidenum">
              <a:rPr lang="en-US" smtClean="0"/>
              <a:pPr/>
              <a:t>12</a:t>
            </a:fld>
            <a:endParaRPr lang="en-US"/>
          </a:p>
        </p:txBody>
      </p:sp>
    </p:spTree>
    <p:extLst>
      <p:ext uri="{BB962C8B-B14F-4D97-AF65-F5344CB8AC3E}">
        <p14:creationId xmlns:p14="http://schemas.microsoft.com/office/powerpoint/2010/main" val="363066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2EC055D-D678-4D1A-A050-A8CF2687D08F}" type="slidenum">
              <a:rPr lang="en-US" smtClean="0"/>
              <a:pPr/>
              <a:t>13</a:t>
            </a:fld>
            <a:endParaRPr lang="en-US"/>
          </a:p>
        </p:txBody>
      </p:sp>
    </p:spTree>
    <p:extLst>
      <p:ext uri="{BB962C8B-B14F-4D97-AF65-F5344CB8AC3E}">
        <p14:creationId xmlns:p14="http://schemas.microsoft.com/office/powerpoint/2010/main" val="1746988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 Text + Chart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5" name="Text Placeholder 6">
            <a:extLst>
              <a:ext uri="{FF2B5EF4-FFF2-40B4-BE49-F238E27FC236}">
                <a16:creationId xmlns:a16="http://schemas.microsoft.com/office/drawing/2014/main" id="{4CE9BF2A-D033-EE88-173A-7C89BFBA5E3A}"/>
              </a:ext>
            </a:extLst>
          </p:cNvPr>
          <p:cNvSpPr>
            <a:spLocks noGrp="1"/>
          </p:cNvSpPr>
          <p:nvPr>
            <p:ph type="body" sz="quarter" idx="16"/>
          </p:nvPr>
        </p:nvSpPr>
        <p:spPr>
          <a:xfrm>
            <a:off x="601663" y="1354440"/>
            <a:ext cx="3034997" cy="4751084"/>
          </a:xfrm>
        </p:spPr>
        <p:txBody>
          <a:bodyPr>
            <a:noAutofit/>
          </a:bodyPr>
          <a:lstStyle>
            <a:lvl1pPr marL="1350" indent="0">
              <a:buClr>
                <a:schemeClr val="accent1"/>
              </a:buClr>
              <a:buFont typeface="Arial" panose="020B0604020202020204" pitchFamily="34" charset="0"/>
              <a:buNone/>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4111309" y="1354137"/>
            <a:ext cx="7486965" cy="4751387"/>
          </a:xfrm>
        </p:spPr>
        <p:txBody>
          <a:bodyPr anchor="ctr"/>
          <a:lstStyle>
            <a:lvl1pPr algn="ctr">
              <a:defRPr/>
            </a:lvl1pPr>
          </a:lstStyle>
          <a:p>
            <a:r>
              <a:rPr lang="en-US"/>
              <a:t>Click icon to add chart</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Tree>
    <p:extLst>
      <p:ext uri="{BB962C8B-B14F-4D97-AF65-F5344CB8AC3E}">
        <p14:creationId xmlns:p14="http://schemas.microsoft.com/office/powerpoint/2010/main" val="295967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 1 Ta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able Placeholder 8">
            <a:extLst>
              <a:ext uri="{FF2B5EF4-FFF2-40B4-BE49-F238E27FC236}">
                <a16:creationId xmlns:a16="http://schemas.microsoft.com/office/drawing/2014/main" id="{A389E8E2-7726-4316-881D-9C1E7B2B2989}"/>
              </a:ext>
            </a:extLst>
          </p:cNvPr>
          <p:cNvSpPr>
            <a:spLocks noGrp="1"/>
          </p:cNvSpPr>
          <p:nvPr>
            <p:ph type="tbl" sz="quarter" idx="20"/>
          </p:nvPr>
        </p:nvSpPr>
        <p:spPr>
          <a:xfrm>
            <a:off x="601663" y="1339850"/>
            <a:ext cx="10988674" cy="4765675"/>
          </a:xfrm>
        </p:spPr>
        <p:txBody>
          <a:bodyPr anchor="ctr"/>
          <a:lstStyle>
            <a:lvl1pPr algn="ctr">
              <a:defRPr>
                <a:solidFill>
                  <a:schemeClr val="bg1"/>
                </a:solidFill>
              </a:defRPr>
            </a:lvl1pPr>
          </a:lstStyle>
          <a:p>
            <a:r>
              <a:rPr lang="en-US"/>
              <a:t>Click icon to add table</a:t>
            </a:r>
          </a:p>
        </p:txBody>
      </p:sp>
    </p:spTree>
    <p:extLst>
      <p:ext uri="{BB962C8B-B14F-4D97-AF65-F5344CB8AC3E}">
        <p14:creationId xmlns:p14="http://schemas.microsoft.com/office/powerpoint/2010/main" val="354073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 1 Tab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able Placeholder 8">
            <a:extLst>
              <a:ext uri="{FF2B5EF4-FFF2-40B4-BE49-F238E27FC236}">
                <a16:creationId xmlns:a16="http://schemas.microsoft.com/office/drawing/2014/main" id="{A389E8E2-7726-4316-881D-9C1E7B2B2989}"/>
              </a:ext>
            </a:extLst>
          </p:cNvPr>
          <p:cNvSpPr>
            <a:spLocks noGrp="1"/>
          </p:cNvSpPr>
          <p:nvPr>
            <p:ph type="tbl" sz="quarter" idx="20"/>
          </p:nvPr>
        </p:nvSpPr>
        <p:spPr>
          <a:xfrm>
            <a:off x="601663" y="1339850"/>
            <a:ext cx="10988674" cy="4765675"/>
          </a:xfrm>
        </p:spPr>
        <p:txBody>
          <a:bodyPr anchor="ctr"/>
          <a:lstStyle>
            <a:lvl1pPr algn="ctr">
              <a:defRPr>
                <a:solidFill>
                  <a:schemeClr val="bg1"/>
                </a:solidFill>
              </a:defRPr>
            </a:lvl1pPr>
          </a:lstStyle>
          <a:p>
            <a:r>
              <a:rPr lang="en-US"/>
              <a:t>Click icon to add table</a:t>
            </a:r>
          </a:p>
        </p:txBody>
      </p:sp>
      <p:sp>
        <p:nvSpPr>
          <p:cNvPr id="3" name="Freeform 2">
            <a:extLst>
              <a:ext uri="{FF2B5EF4-FFF2-40B4-BE49-F238E27FC236}">
                <a16:creationId xmlns:a16="http://schemas.microsoft.com/office/drawing/2014/main" id="{215F4BF4-0038-A3E0-A980-F84AF3F4F22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9329885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Up Process (Black)">
    <p:bg>
      <p:bgPr>
        <a:solidFill>
          <a:schemeClr val="tx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3" name="Title 1">
            <a:extLst>
              <a:ext uri="{FF2B5EF4-FFF2-40B4-BE49-F238E27FC236}">
                <a16:creationId xmlns:a16="http://schemas.microsoft.com/office/drawing/2014/main" id="{C587C58D-54EC-8587-0D92-7AC0E4A9BCAE}"/>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5" name="Text Placeholder 6">
            <a:extLst>
              <a:ext uri="{FF2B5EF4-FFF2-40B4-BE49-F238E27FC236}">
                <a16:creationId xmlns:a16="http://schemas.microsoft.com/office/drawing/2014/main" id="{83D9E87C-CDE5-A1CE-FF0D-D97A2D4CC2D6}"/>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Text Placeholder 6">
            <a:extLst>
              <a:ext uri="{FF2B5EF4-FFF2-40B4-BE49-F238E27FC236}">
                <a16:creationId xmlns:a16="http://schemas.microsoft.com/office/drawing/2014/main" id="{D7C82072-A4BF-8197-84AE-AC49238C9874}"/>
              </a:ext>
            </a:extLst>
          </p:cNvPr>
          <p:cNvSpPr>
            <a:spLocks noGrp="1"/>
          </p:cNvSpPr>
          <p:nvPr>
            <p:ph type="body" sz="quarter" idx="21"/>
          </p:nvPr>
        </p:nvSpPr>
        <p:spPr>
          <a:xfrm>
            <a:off x="600279" y="3008394"/>
            <a:ext cx="3424662" cy="1808154"/>
          </a:xfrm>
        </p:spPr>
        <p:txBody>
          <a:bodyPr lIns="144000" rIns="108000"/>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5D6EA4DE-9E49-DCD4-1887-B01CECD45C22}"/>
              </a:ext>
            </a:extLst>
          </p:cNvPr>
          <p:cNvSpPr>
            <a:spLocks noGrp="1"/>
          </p:cNvSpPr>
          <p:nvPr>
            <p:ph type="body" sz="quarter" idx="22"/>
          </p:nvPr>
        </p:nvSpPr>
        <p:spPr>
          <a:xfrm>
            <a:off x="4455042" y="3008394"/>
            <a:ext cx="3221665" cy="1808154"/>
          </a:xfrm>
        </p:spPr>
        <p:txBody>
          <a:bodyPr lIns="144000" rIns="108000"/>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5D91A45-D273-BE12-94B4-C923A73B9BCF}"/>
              </a:ext>
            </a:extLst>
          </p:cNvPr>
          <p:cNvSpPr>
            <a:spLocks noGrp="1"/>
          </p:cNvSpPr>
          <p:nvPr>
            <p:ph type="body" sz="quarter" idx="24"/>
          </p:nvPr>
        </p:nvSpPr>
        <p:spPr>
          <a:xfrm>
            <a:off x="601663" y="2232836"/>
            <a:ext cx="3748678" cy="584791"/>
          </a:xfrm>
          <a:prstGeom prst="homePlate">
            <a:avLst/>
          </a:prstGeom>
          <a:solidFill>
            <a:schemeClr val="accent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16" name="Text Placeholder 14">
            <a:extLst>
              <a:ext uri="{FF2B5EF4-FFF2-40B4-BE49-F238E27FC236}">
                <a16:creationId xmlns:a16="http://schemas.microsoft.com/office/drawing/2014/main" id="{79008A3B-BA19-96AA-5C4D-34BF86F701FA}"/>
              </a:ext>
            </a:extLst>
          </p:cNvPr>
          <p:cNvSpPr>
            <a:spLocks noGrp="1"/>
          </p:cNvSpPr>
          <p:nvPr>
            <p:ph type="body" sz="quarter" idx="25"/>
          </p:nvPr>
        </p:nvSpPr>
        <p:spPr>
          <a:xfrm>
            <a:off x="4157884" y="2232836"/>
            <a:ext cx="3812455" cy="584791"/>
          </a:xfrm>
          <a:prstGeom prst="chevron">
            <a:avLst/>
          </a:prstGeom>
          <a:solidFill>
            <a:schemeClr val="accent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17" name="Text Placeholder 14">
            <a:extLst>
              <a:ext uri="{FF2B5EF4-FFF2-40B4-BE49-F238E27FC236}">
                <a16:creationId xmlns:a16="http://schemas.microsoft.com/office/drawing/2014/main" id="{995F495A-3986-FA29-A922-5CBCB9B00C60}"/>
              </a:ext>
            </a:extLst>
          </p:cNvPr>
          <p:cNvSpPr>
            <a:spLocks noGrp="1"/>
          </p:cNvSpPr>
          <p:nvPr>
            <p:ph type="body" sz="quarter" idx="26"/>
          </p:nvPr>
        </p:nvSpPr>
        <p:spPr>
          <a:xfrm>
            <a:off x="7777882" y="2232836"/>
            <a:ext cx="3812455" cy="584791"/>
          </a:xfrm>
          <a:prstGeom prst="chevron">
            <a:avLst/>
          </a:prstGeom>
          <a:solidFill>
            <a:schemeClr val="accent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14C27360-53CA-92E2-E5CB-3DC2ABB86F20}"/>
              </a:ext>
            </a:extLst>
          </p:cNvPr>
          <p:cNvSpPr>
            <a:spLocks noGrp="1"/>
          </p:cNvSpPr>
          <p:nvPr>
            <p:ph type="body" sz="quarter" idx="27"/>
          </p:nvPr>
        </p:nvSpPr>
        <p:spPr>
          <a:xfrm>
            <a:off x="8106808" y="3008394"/>
            <a:ext cx="3221665" cy="1808154"/>
          </a:xfrm>
        </p:spPr>
        <p:txBody>
          <a:bodyPr lIns="144000" rIns="108000"/>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33891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Up Process (Red)">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3" name="Title 1">
            <a:extLst>
              <a:ext uri="{FF2B5EF4-FFF2-40B4-BE49-F238E27FC236}">
                <a16:creationId xmlns:a16="http://schemas.microsoft.com/office/drawing/2014/main" id="{C587C58D-54EC-8587-0D92-7AC0E4A9BCAE}"/>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5" name="Text Placeholder 6">
            <a:extLst>
              <a:ext uri="{FF2B5EF4-FFF2-40B4-BE49-F238E27FC236}">
                <a16:creationId xmlns:a16="http://schemas.microsoft.com/office/drawing/2014/main" id="{83D9E87C-CDE5-A1CE-FF0D-D97A2D4CC2D6}"/>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Text Placeholder 6">
            <a:extLst>
              <a:ext uri="{FF2B5EF4-FFF2-40B4-BE49-F238E27FC236}">
                <a16:creationId xmlns:a16="http://schemas.microsoft.com/office/drawing/2014/main" id="{D7C82072-A4BF-8197-84AE-AC49238C9874}"/>
              </a:ext>
            </a:extLst>
          </p:cNvPr>
          <p:cNvSpPr>
            <a:spLocks noGrp="1"/>
          </p:cNvSpPr>
          <p:nvPr>
            <p:ph type="body" sz="quarter" idx="21"/>
          </p:nvPr>
        </p:nvSpPr>
        <p:spPr>
          <a:xfrm>
            <a:off x="600279" y="3008394"/>
            <a:ext cx="3424662" cy="1808154"/>
          </a:xfrm>
        </p:spPr>
        <p:txBody>
          <a:bodyPr lIns="144000" rIns="108000"/>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5D6EA4DE-9E49-DCD4-1887-B01CECD45C22}"/>
              </a:ext>
            </a:extLst>
          </p:cNvPr>
          <p:cNvSpPr>
            <a:spLocks noGrp="1"/>
          </p:cNvSpPr>
          <p:nvPr>
            <p:ph type="body" sz="quarter" idx="22"/>
          </p:nvPr>
        </p:nvSpPr>
        <p:spPr>
          <a:xfrm>
            <a:off x="4455042" y="3008394"/>
            <a:ext cx="3221665" cy="1808154"/>
          </a:xfrm>
        </p:spPr>
        <p:txBody>
          <a:bodyPr lIns="144000" rIns="108000"/>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5D91A45-D273-BE12-94B4-C923A73B9BCF}"/>
              </a:ext>
            </a:extLst>
          </p:cNvPr>
          <p:cNvSpPr>
            <a:spLocks noGrp="1"/>
          </p:cNvSpPr>
          <p:nvPr>
            <p:ph type="body" sz="quarter" idx="24"/>
          </p:nvPr>
        </p:nvSpPr>
        <p:spPr>
          <a:xfrm>
            <a:off x="601663" y="2232836"/>
            <a:ext cx="3748678" cy="584791"/>
          </a:xfrm>
          <a:prstGeom prst="homePlate">
            <a:avLst/>
          </a:prstGeom>
          <a:solidFill>
            <a:schemeClr val="tx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16" name="Text Placeholder 14">
            <a:extLst>
              <a:ext uri="{FF2B5EF4-FFF2-40B4-BE49-F238E27FC236}">
                <a16:creationId xmlns:a16="http://schemas.microsoft.com/office/drawing/2014/main" id="{79008A3B-BA19-96AA-5C4D-34BF86F701FA}"/>
              </a:ext>
            </a:extLst>
          </p:cNvPr>
          <p:cNvSpPr>
            <a:spLocks noGrp="1"/>
          </p:cNvSpPr>
          <p:nvPr>
            <p:ph type="body" sz="quarter" idx="25"/>
          </p:nvPr>
        </p:nvSpPr>
        <p:spPr>
          <a:xfrm>
            <a:off x="4157884" y="2232836"/>
            <a:ext cx="3812455" cy="584791"/>
          </a:xfrm>
          <a:prstGeom prst="chevron">
            <a:avLst/>
          </a:prstGeom>
          <a:solidFill>
            <a:schemeClr val="tx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17" name="Text Placeholder 14">
            <a:extLst>
              <a:ext uri="{FF2B5EF4-FFF2-40B4-BE49-F238E27FC236}">
                <a16:creationId xmlns:a16="http://schemas.microsoft.com/office/drawing/2014/main" id="{995F495A-3986-FA29-A922-5CBCB9B00C60}"/>
              </a:ext>
            </a:extLst>
          </p:cNvPr>
          <p:cNvSpPr>
            <a:spLocks noGrp="1"/>
          </p:cNvSpPr>
          <p:nvPr>
            <p:ph type="body" sz="quarter" idx="26"/>
          </p:nvPr>
        </p:nvSpPr>
        <p:spPr>
          <a:xfrm>
            <a:off x="7777882" y="2232836"/>
            <a:ext cx="3812455" cy="584791"/>
          </a:xfrm>
          <a:prstGeom prst="chevron">
            <a:avLst/>
          </a:prstGeom>
          <a:solidFill>
            <a:schemeClr val="tx1"/>
          </a:solidFill>
        </p:spPr>
        <p:txBody>
          <a:bodyPr lIns="144000" anchor="ctr"/>
          <a:lstStyle>
            <a:lvl1pPr>
              <a:defRPr sz="2400">
                <a:solidFill>
                  <a:schemeClr val="bg1"/>
                </a:solidFill>
                <a:latin typeface="+mj-lt"/>
              </a:defRPr>
            </a:lvl1pPr>
          </a:lstStyle>
          <a:p>
            <a:pPr lvl="0"/>
            <a:r>
              <a:rPr lang="en-US"/>
              <a:t>Click to edit Master text styles</a:t>
            </a:r>
          </a:p>
        </p:txBody>
      </p:sp>
      <p:sp>
        <p:nvSpPr>
          <p:cNvPr id="22" name="Text Placeholder 6">
            <a:extLst>
              <a:ext uri="{FF2B5EF4-FFF2-40B4-BE49-F238E27FC236}">
                <a16:creationId xmlns:a16="http://schemas.microsoft.com/office/drawing/2014/main" id="{14C27360-53CA-92E2-E5CB-3DC2ABB86F20}"/>
              </a:ext>
            </a:extLst>
          </p:cNvPr>
          <p:cNvSpPr>
            <a:spLocks noGrp="1"/>
          </p:cNvSpPr>
          <p:nvPr>
            <p:ph type="body" sz="quarter" idx="27"/>
          </p:nvPr>
        </p:nvSpPr>
        <p:spPr>
          <a:xfrm>
            <a:off x="8106808" y="3008394"/>
            <a:ext cx="3221665" cy="1808154"/>
          </a:xfrm>
        </p:spPr>
        <p:txBody>
          <a:bodyPr lIns="144000" rIns="108000"/>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reeform 1">
            <a:extLst>
              <a:ext uri="{FF2B5EF4-FFF2-40B4-BE49-F238E27FC236}">
                <a16:creationId xmlns:a16="http://schemas.microsoft.com/office/drawing/2014/main" id="{48BB28D1-4391-6640-5611-928FD957C28A}"/>
              </a:ext>
              <a:ext uri="{C183D7F6-B498-43B3-948B-1728B52AA6E4}">
                <adec:decorative xmlns:adec="http://schemas.microsoft.com/office/drawing/2017/decorative" val="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1009634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Col Text + Images (White)">
    <p:bg>
      <p:bgPr>
        <a:solidFill>
          <a:schemeClr val="bg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2" name="Text Placeholder 6">
            <a:extLst>
              <a:ext uri="{FF2B5EF4-FFF2-40B4-BE49-F238E27FC236}">
                <a16:creationId xmlns:a16="http://schemas.microsoft.com/office/drawing/2014/main" id="{48DEA081-7241-9A28-D67E-E57DEABAAB2A}"/>
              </a:ext>
            </a:extLst>
          </p:cNvPr>
          <p:cNvSpPr>
            <a:spLocks noGrp="1"/>
          </p:cNvSpPr>
          <p:nvPr>
            <p:ph type="body" sz="quarter" idx="21" hasCustomPrompt="1"/>
          </p:nvPr>
        </p:nvSpPr>
        <p:spPr>
          <a:xfrm>
            <a:off x="601662"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3" name="Picture Placeholder 16">
            <a:extLst>
              <a:ext uri="{FF2B5EF4-FFF2-40B4-BE49-F238E27FC236}">
                <a16:creationId xmlns:a16="http://schemas.microsoft.com/office/drawing/2014/main" id="{65835385-C754-2DED-0195-939B5824B21D}"/>
              </a:ext>
            </a:extLst>
          </p:cNvPr>
          <p:cNvSpPr>
            <a:spLocks noGrp="1"/>
          </p:cNvSpPr>
          <p:nvPr>
            <p:ph type="pic" sz="quarter" idx="22"/>
          </p:nvPr>
        </p:nvSpPr>
        <p:spPr>
          <a:xfrm>
            <a:off x="4389895"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5" name="Text Placeholder 6">
            <a:extLst>
              <a:ext uri="{FF2B5EF4-FFF2-40B4-BE49-F238E27FC236}">
                <a16:creationId xmlns:a16="http://schemas.microsoft.com/office/drawing/2014/main" id="{5061FB04-436B-E689-5F32-6AE8DE142891}"/>
              </a:ext>
            </a:extLst>
          </p:cNvPr>
          <p:cNvSpPr>
            <a:spLocks noGrp="1"/>
          </p:cNvSpPr>
          <p:nvPr>
            <p:ph type="body" sz="quarter" idx="24" hasCustomPrompt="1"/>
          </p:nvPr>
        </p:nvSpPr>
        <p:spPr>
          <a:xfrm>
            <a:off x="4389895"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6" name="Picture Placeholder 16">
            <a:extLst>
              <a:ext uri="{FF2B5EF4-FFF2-40B4-BE49-F238E27FC236}">
                <a16:creationId xmlns:a16="http://schemas.microsoft.com/office/drawing/2014/main" id="{C7F3255B-9152-4E8F-5A26-8041EDE7457E}"/>
              </a:ext>
            </a:extLst>
          </p:cNvPr>
          <p:cNvSpPr>
            <a:spLocks noGrp="1"/>
          </p:cNvSpPr>
          <p:nvPr>
            <p:ph type="pic" sz="quarter" idx="25"/>
          </p:nvPr>
        </p:nvSpPr>
        <p:spPr>
          <a:xfrm>
            <a:off x="8178130"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8" name="Text Placeholder 6">
            <a:extLst>
              <a:ext uri="{FF2B5EF4-FFF2-40B4-BE49-F238E27FC236}">
                <a16:creationId xmlns:a16="http://schemas.microsoft.com/office/drawing/2014/main" id="{5573FB5A-67B9-5793-31A2-C5B7AA0A2205}"/>
              </a:ext>
            </a:extLst>
          </p:cNvPr>
          <p:cNvSpPr>
            <a:spLocks noGrp="1"/>
          </p:cNvSpPr>
          <p:nvPr>
            <p:ph type="body" sz="quarter" idx="27" hasCustomPrompt="1"/>
          </p:nvPr>
        </p:nvSpPr>
        <p:spPr>
          <a:xfrm>
            <a:off x="8178130"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8" name="Text Placeholder 6">
            <a:extLst>
              <a:ext uri="{FF2B5EF4-FFF2-40B4-BE49-F238E27FC236}">
                <a16:creationId xmlns:a16="http://schemas.microsoft.com/office/drawing/2014/main" id="{98C660E6-2EF8-AAD7-860F-8816578EFCEB}"/>
              </a:ext>
            </a:extLst>
          </p:cNvPr>
          <p:cNvSpPr>
            <a:spLocks noGrp="1"/>
          </p:cNvSpPr>
          <p:nvPr>
            <p:ph type="body" sz="quarter" idx="20"/>
          </p:nvPr>
        </p:nvSpPr>
        <p:spPr>
          <a:xfrm>
            <a:off x="601663"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7CD6DB0-A18D-F1B2-1A30-5167ADE53CE2}"/>
              </a:ext>
            </a:extLst>
          </p:cNvPr>
          <p:cNvSpPr>
            <a:spLocks noGrp="1"/>
          </p:cNvSpPr>
          <p:nvPr>
            <p:ph type="body" sz="quarter" idx="28"/>
          </p:nvPr>
        </p:nvSpPr>
        <p:spPr>
          <a:xfrm>
            <a:off x="4389899"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379DAF15-72A8-3BA2-F543-6F2DF6248A2D}"/>
              </a:ext>
            </a:extLst>
          </p:cNvPr>
          <p:cNvSpPr>
            <a:spLocks noGrp="1"/>
          </p:cNvSpPr>
          <p:nvPr>
            <p:ph type="body" sz="quarter" idx="29"/>
          </p:nvPr>
        </p:nvSpPr>
        <p:spPr>
          <a:xfrm>
            <a:off x="8178134"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7193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Col Text (Whit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7F251-09E4-C1B0-B001-3540D0D2067E}"/>
              </a:ext>
            </a:extLst>
          </p:cNvPr>
          <p:cNvSpPr>
            <a:spLocks noGrp="1"/>
          </p:cNvSpPr>
          <p:nvPr>
            <p:ph type="body" sz="quarter" idx="14"/>
          </p:nvPr>
        </p:nvSpPr>
        <p:spPr>
          <a:xfrm>
            <a:off x="601663" y="1354440"/>
            <a:ext cx="10988675" cy="3419579"/>
          </a:xfrm>
        </p:spPr>
        <p:txBody>
          <a:bodyPr>
            <a:noAutofit/>
          </a:bodyPr>
          <a:lstStyle>
            <a:lvl1pPr marL="1350" indent="0">
              <a:buClr>
                <a:schemeClr val="accent1"/>
              </a:buClr>
              <a:buFont typeface="Arial" panose="020B0604020202020204" pitchFamily="34" charset="0"/>
              <a:buNone/>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83F1894-00E5-94A2-CFAB-222FF093CAD6}"/>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415913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9E9137-FF9E-3484-19EA-3BB17997590F}"/>
              </a:ext>
              <a:ext uri="{C183D7F6-B498-43B3-948B-1728B52AA6E4}">
                <adec:decorative xmlns:adec="http://schemas.microsoft.com/office/drawing/2017/decorative" val="1"/>
              </a:ext>
            </a:extLst>
          </p:cNvPr>
          <p:cNvSpPr/>
          <p:nvPr userDrawn="1"/>
        </p:nvSpPr>
        <p:spPr>
          <a:xfrm>
            <a:off x="0" y="6250668"/>
            <a:ext cx="12192000" cy="607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venir Book" panose="02000503020000020003" pitchFamily="2" charset="0"/>
            </a:endParaRPr>
          </a:p>
        </p:txBody>
      </p:sp>
      <p:sp>
        <p:nvSpPr>
          <p:cNvPr id="15" name="Rectangle 14">
            <a:extLst>
              <a:ext uri="{FF2B5EF4-FFF2-40B4-BE49-F238E27FC236}">
                <a16:creationId xmlns:a16="http://schemas.microsoft.com/office/drawing/2014/main" id="{5AEBAD6B-5AD2-FBFC-EC0F-453C04F88AD9}"/>
              </a:ext>
              <a:ext uri="{C183D7F6-B498-43B3-948B-1728B52AA6E4}">
                <adec:decorative xmlns:adec="http://schemas.microsoft.com/office/drawing/2017/decorative" val="1"/>
              </a:ext>
            </a:extLst>
          </p:cNvPr>
          <p:cNvSpPr/>
          <p:nvPr userDrawn="1"/>
        </p:nvSpPr>
        <p:spPr>
          <a:xfrm>
            <a:off x="0" y="6259695"/>
            <a:ext cx="12192000" cy="607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venir Book" panose="02000503020000020003" pitchFamily="2" charset="0"/>
            </a:endParaRPr>
          </a:p>
        </p:txBody>
      </p:sp>
      <p:sp>
        <p:nvSpPr>
          <p:cNvPr id="18" name="Content Placeholder 2">
            <a:extLst>
              <a:ext uri="{FF2B5EF4-FFF2-40B4-BE49-F238E27FC236}">
                <a16:creationId xmlns:a16="http://schemas.microsoft.com/office/drawing/2014/main" id="{D4519615-7418-81FA-213C-93C3860996A5}"/>
              </a:ext>
            </a:extLst>
          </p:cNvPr>
          <p:cNvSpPr>
            <a:spLocks noGrp="1"/>
          </p:cNvSpPr>
          <p:nvPr>
            <p:ph idx="16" hasCustomPrompt="1"/>
          </p:nvPr>
        </p:nvSpPr>
        <p:spPr>
          <a:xfrm>
            <a:off x="608897" y="1371600"/>
            <a:ext cx="10972800" cy="4495800"/>
          </a:xfrm>
        </p:spPr>
        <p:txBody>
          <a:bodyPr lIns="0" tIns="0" rIns="0" bIns="0">
            <a:normAutofit/>
          </a:bodyPr>
          <a:lstStyle>
            <a:lvl1pPr marL="0" indent="0">
              <a:buNone/>
              <a:defRPr sz="2000" b="0" baseline="0">
                <a:solidFill>
                  <a:schemeClr val="accent1"/>
                </a:solidFill>
                <a:latin typeface="+mj-lt"/>
              </a:defRPr>
            </a:lvl1pPr>
            <a:lvl2pPr marL="0">
              <a:defRPr sz="1800" baseline="0"/>
            </a:lvl2pPr>
            <a:lvl3pPr marL="228600">
              <a:lnSpc>
                <a:spcPct val="100000"/>
              </a:lnSpc>
              <a:spcBef>
                <a:spcPts val="600"/>
              </a:spcBef>
              <a:defRPr sz="1800" baseline="0"/>
            </a:lvl3pPr>
            <a:lvl4pPr marL="457200" indent="-228600">
              <a:lnSpc>
                <a:spcPct val="100000"/>
              </a:lnSpc>
              <a:spcBef>
                <a:spcPts val="600"/>
              </a:spcBef>
              <a:buClr>
                <a:schemeClr val="accent1"/>
              </a:buClr>
              <a:buSzPct val="80000"/>
              <a:buFont typeface="Courier New" panose="02070309020205020404" pitchFamily="49" charset="0"/>
              <a:buChar char="o"/>
              <a:defRPr sz="1800" baseline="0"/>
            </a:lvl4pPr>
            <a:lvl5pPr marL="685800" indent="-228600">
              <a:lnSpc>
                <a:spcPct val="100000"/>
              </a:lnSpc>
              <a:spcBef>
                <a:spcPts val="600"/>
              </a:spcBef>
              <a:buClr>
                <a:schemeClr val="accent1"/>
              </a:buClr>
              <a:buSzPct val="80000"/>
              <a:buFont typeface="Courier New" panose="02070309020205020404" pitchFamily="49" charset="0"/>
              <a:buChar char="o"/>
              <a:defRPr sz="1800" baseline="0"/>
            </a:lvl5pPr>
            <a:lvl6pPr marL="914400" indent="-228600">
              <a:lnSpc>
                <a:spcPct val="100000"/>
              </a:lnSpc>
              <a:spcBef>
                <a:spcPts val="600"/>
              </a:spcBef>
              <a:buClr>
                <a:schemeClr val="accent1"/>
              </a:buClr>
              <a:buSzPct val="80000"/>
              <a:buFont typeface="Courier New" panose="02070309020205020404" pitchFamily="49" charset="0"/>
              <a:buChar char="o"/>
              <a:defRPr sz="1800"/>
            </a:lvl6pPr>
            <a:lvl7pPr marL="1143000" indent="-228600">
              <a:lnSpc>
                <a:spcPct val="100000"/>
              </a:lnSpc>
              <a:spcBef>
                <a:spcPts val="600"/>
              </a:spcBef>
              <a:buClr>
                <a:schemeClr val="accent1"/>
              </a:buClr>
              <a:buSzPct val="80000"/>
              <a:buFont typeface="Courier New" panose="02070309020205020404" pitchFamily="49" charset="0"/>
              <a:buChar char="o"/>
              <a:defRPr sz="1800"/>
            </a:lvl7pPr>
          </a:lstStyle>
          <a:p>
            <a:pPr lvl="0"/>
            <a:r>
              <a:rPr lang="en-US" dirty="0"/>
              <a:t>Headline</a:t>
            </a:r>
          </a:p>
          <a:p>
            <a:pPr lvl="1"/>
            <a:r>
              <a:rPr lang="en-US" dirty="0"/>
              <a:t>Subhead</a:t>
            </a:r>
          </a:p>
          <a:p>
            <a:pPr lvl="2"/>
            <a:r>
              <a:rPr lang="en-US" dirty="0"/>
              <a:t>First level</a:t>
            </a:r>
          </a:p>
          <a:p>
            <a:pPr lvl="3"/>
            <a:r>
              <a:rPr lang="en-US" dirty="0"/>
              <a:t>Second level</a:t>
            </a:r>
          </a:p>
          <a:p>
            <a:pPr lvl="4"/>
            <a:r>
              <a:rPr lang="en-US" dirty="0"/>
              <a:t>Third level</a:t>
            </a:r>
          </a:p>
          <a:p>
            <a:pPr lvl="5"/>
            <a:r>
              <a:rPr lang="en-US" dirty="0"/>
              <a:t>Fourth level</a:t>
            </a:r>
          </a:p>
          <a:p>
            <a:pPr lvl="6"/>
            <a:r>
              <a:rPr lang="en-US" dirty="0"/>
              <a:t>Fifth level</a:t>
            </a:r>
          </a:p>
        </p:txBody>
      </p:sp>
      <p:pic>
        <p:nvPicPr>
          <p:cNvPr id="3" name="Picture 2">
            <a:extLst>
              <a:ext uri="{FF2B5EF4-FFF2-40B4-BE49-F238E27FC236}">
                <a16:creationId xmlns:a16="http://schemas.microsoft.com/office/drawing/2014/main" id="{7EA467DD-B184-540C-7607-4FB8DC4A127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63000" y="6398829"/>
            <a:ext cx="3073400" cy="293977"/>
          </a:xfrm>
          <a:prstGeom prst="rect">
            <a:avLst/>
          </a:prstGeom>
        </p:spPr>
      </p:pic>
      <p:sp>
        <p:nvSpPr>
          <p:cNvPr id="5" name="Slide Number Placeholder 3">
            <a:extLst>
              <a:ext uri="{FF2B5EF4-FFF2-40B4-BE49-F238E27FC236}">
                <a16:creationId xmlns:a16="http://schemas.microsoft.com/office/drawing/2014/main" id="{EAE1DF07-56CE-503B-4947-5E6661914A70}"/>
              </a:ext>
            </a:extLst>
          </p:cNvPr>
          <p:cNvSpPr txBox="1">
            <a:spLocks/>
          </p:cNvSpPr>
          <p:nvPr userDrawn="1"/>
        </p:nvSpPr>
        <p:spPr>
          <a:xfrm>
            <a:off x="458605" y="6417198"/>
            <a:ext cx="455795" cy="326582"/>
          </a:xfrm>
          <a:prstGeom prst="rect">
            <a:avLst/>
          </a:prstGeom>
        </p:spPr>
        <p:txBody>
          <a:bodyPr/>
          <a:lstStyle>
            <a:defPPr>
              <a:defRPr lang="en-US"/>
            </a:defPPr>
            <a:lvl1pPr marL="0" algn="l" defTabSz="914400" rtl="0" eaLnBrk="1" latinLnBrk="0" hangingPunct="1">
              <a:defRPr sz="1400" b="1" i="0" kern="1200">
                <a:solidFill>
                  <a:schemeClr val="bg1"/>
                </a:solidFill>
                <a:latin typeface="Ted Next DemiBold" panose="02000507000000000004"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98E9DD-AA04-43A0-8C50-5990FB3A8D56}" type="slidenum">
              <a:rPr lang="en-US" smtClean="0"/>
              <a:pPr/>
              <a:t>‹#›</a:t>
            </a:fld>
            <a:endParaRPr lang="en-US" dirty="0"/>
          </a:p>
        </p:txBody>
      </p:sp>
      <p:sp>
        <p:nvSpPr>
          <p:cNvPr id="6" name="Title 1">
            <a:extLst>
              <a:ext uri="{FF2B5EF4-FFF2-40B4-BE49-F238E27FC236}">
                <a16:creationId xmlns:a16="http://schemas.microsoft.com/office/drawing/2014/main" id="{A6BF653A-F7DC-0A45-1CC3-912870FAD44F}"/>
              </a:ext>
            </a:extLst>
          </p:cNvPr>
          <p:cNvSpPr>
            <a:spLocks noGrp="1"/>
          </p:cNvSpPr>
          <p:nvPr>
            <p:ph type="title" hasCustomPrompt="1"/>
          </p:nvPr>
        </p:nvSpPr>
        <p:spPr>
          <a:xfrm>
            <a:off x="609601" y="208148"/>
            <a:ext cx="10972800" cy="546787"/>
          </a:xfrm>
        </p:spPr>
        <p:txBody>
          <a:bodyPr anchor="b" anchorCtr="0"/>
          <a:lstStyle>
            <a:lvl1pPr>
              <a:defRPr>
                <a:solidFill>
                  <a:schemeClr val="accent1"/>
                </a:solidFill>
              </a:defRPr>
            </a:lvl1pPr>
          </a:lstStyle>
          <a:p>
            <a:r>
              <a:rPr lang="en-US" dirty="0"/>
              <a:t>Click to add title</a:t>
            </a:r>
          </a:p>
        </p:txBody>
      </p:sp>
      <p:sp>
        <p:nvSpPr>
          <p:cNvPr id="8" name="Text Placeholder 12">
            <a:extLst>
              <a:ext uri="{FF2B5EF4-FFF2-40B4-BE49-F238E27FC236}">
                <a16:creationId xmlns:a16="http://schemas.microsoft.com/office/drawing/2014/main" id="{6D01553D-3C7C-A588-7544-55A1AD4E30B7}"/>
              </a:ext>
            </a:extLst>
          </p:cNvPr>
          <p:cNvSpPr>
            <a:spLocks noGrp="1"/>
          </p:cNvSpPr>
          <p:nvPr>
            <p:ph type="body" sz="quarter" idx="23" hasCustomPrompt="1"/>
          </p:nvPr>
        </p:nvSpPr>
        <p:spPr>
          <a:xfrm>
            <a:off x="609601" y="757954"/>
            <a:ext cx="10972800" cy="516060"/>
          </a:xfrm>
        </p:spPr>
        <p:txBody>
          <a:bodyPr anchor="t" anchorCtr="0">
            <a:normAutofit/>
          </a:bodyPr>
          <a:lstStyle>
            <a:lvl1pPr>
              <a:defRPr sz="2000" b="0" i="0">
                <a:latin typeface="Ted Next" panose="02000507000000000004" pitchFamily="2" charset="77"/>
              </a:defRPr>
            </a:lvl1pPr>
          </a:lstStyle>
          <a:p>
            <a:pPr lvl="0"/>
            <a:r>
              <a:rPr lang="en-US" dirty="0"/>
              <a:t>Click to add subtitle</a:t>
            </a:r>
          </a:p>
        </p:txBody>
      </p:sp>
    </p:spTree>
    <p:extLst>
      <p:ext uri="{BB962C8B-B14F-4D97-AF65-F5344CB8AC3E}">
        <p14:creationId xmlns:p14="http://schemas.microsoft.com/office/powerpoint/2010/main" val="559929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Title and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441A3EE-4F42-8137-D377-A49A636B99E6}"/>
              </a:ext>
              <a:ext uri="{C183D7F6-B498-43B3-948B-1728B52AA6E4}">
                <adec:decorative xmlns:adec="http://schemas.microsoft.com/office/drawing/2017/decorative" val="1"/>
              </a:ext>
            </a:extLst>
          </p:cNvPr>
          <p:cNvSpPr/>
          <p:nvPr userDrawn="1"/>
        </p:nvSpPr>
        <p:spPr>
          <a:xfrm>
            <a:off x="0" y="6281928"/>
            <a:ext cx="12192000" cy="5760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venir Book" panose="02000503020000020003" pitchFamily="2" charset="0"/>
            </a:endParaRPr>
          </a:p>
        </p:txBody>
      </p:sp>
      <p:sp>
        <p:nvSpPr>
          <p:cNvPr id="5" name="Rectangle 4">
            <a:extLst>
              <a:ext uri="{FF2B5EF4-FFF2-40B4-BE49-F238E27FC236}">
                <a16:creationId xmlns:a16="http://schemas.microsoft.com/office/drawing/2014/main" id="{8D7FCFD9-B2C3-D8B2-619B-60026267F5A0}"/>
              </a:ext>
              <a:ext uri="{C183D7F6-B498-43B3-948B-1728B52AA6E4}">
                <adec:decorative xmlns:adec="http://schemas.microsoft.com/office/drawing/2017/decorative" val="1"/>
              </a:ext>
            </a:extLst>
          </p:cNvPr>
          <p:cNvSpPr/>
          <p:nvPr userDrawn="1"/>
        </p:nvSpPr>
        <p:spPr>
          <a:xfrm>
            <a:off x="0" y="6250668"/>
            <a:ext cx="12192000" cy="607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venir Book" panose="02000503020000020003" pitchFamily="2" charset="0"/>
            </a:endParaRPr>
          </a:p>
        </p:txBody>
      </p:sp>
      <p:sp>
        <p:nvSpPr>
          <p:cNvPr id="19" name="Text Placeholder 14">
            <a:extLst>
              <a:ext uri="{FF2B5EF4-FFF2-40B4-BE49-F238E27FC236}">
                <a16:creationId xmlns:a16="http://schemas.microsoft.com/office/drawing/2014/main" id="{992864EE-9A43-EA48-B33B-62BAD50C657E}"/>
              </a:ext>
            </a:extLst>
          </p:cNvPr>
          <p:cNvSpPr>
            <a:spLocks noGrp="1"/>
          </p:cNvSpPr>
          <p:nvPr>
            <p:ph type="body" sz="quarter" idx="17" hasCustomPrompt="1"/>
          </p:nvPr>
        </p:nvSpPr>
        <p:spPr>
          <a:xfrm>
            <a:off x="568013" y="1371600"/>
            <a:ext cx="5299387" cy="4354195"/>
          </a:xfrm>
          <a:solidFill>
            <a:schemeClr val="bg1">
              <a:lumMod val="95000"/>
            </a:schemeClr>
          </a:solidFill>
        </p:spPr>
        <p:txBody>
          <a:bodyPr lIns="45720" tIns="45720" rIns="45720" bIns="45720">
            <a:normAutofit/>
          </a:bodyPr>
          <a:lstStyle>
            <a:lvl1pPr marL="0" indent="0" algn="l">
              <a:buNone/>
              <a:defRPr sz="2000" b="0">
                <a:solidFill>
                  <a:schemeClr val="accent1"/>
                </a:solidFill>
              </a:defRPr>
            </a:lvl1pPr>
            <a:lvl2pPr marL="0" indent="0">
              <a:spcBef>
                <a:spcPts val="600"/>
              </a:spcBef>
              <a:buClr>
                <a:schemeClr val="accent1"/>
              </a:buClr>
              <a:buSzPct val="60000"/>
              <a:buFont typeface="Wingdings" panose="05000000000000000000" pitchFamily="2" charset="2"/>
              <a:buNone/>
              <a:defRPr sz="1800"/>
            </a:lvl2pPr>
            <a:lvl3pPr marL="285750" indent="-285750">
              <a:lnSpc>
                <a:spcPct val="100000"/>
              </a:lnSpc>
              <a:spcBef>
                <a:spcPts val="600"/>
              </a:spcBef>
              <a:buFont typeface="Arial" panose="020B0604020202020204" pitchFamily="34" charset="0"/>
              <a:buChar char="•"/>
              <a:defRPr sz="1800"/>
            </a:lvl3pPr>
            <a:lvl4pPr marL="514350" indent="-285750">
              <a:lnSpc>
                <a:spcPct val="100000"/>
              </a:lnSpc>
              <a:spcBef>
                <a:spcPts val="600"/>
              </a:spcBef>
              <a:buClr>
                <a:schemeClr val="accent1"/>
              </a:buClr>
              <a:buSzPct val="80000"/>
              <a:buFont typeface="Courier New" panose="02070309020205020404" pitchFamily="49" charset="0"/>
              <a:buChar char="o"/>
              <a:defRPr sz="1800"/>
            </a:lvl4pPr>
            <a:lvl5pPr marL="742950" indent="-285750">
              <a:lnSpc>
                <a:spcPct val="100000"/>
              </a:lnSpc>
              <a:spcBef>
                <a:spcPts val="600"/>
              </a:spcBef>
              <a:buClr>
                <a:schemeClr val="accent1"/>
              </a:buClr>
              <a:buSzPct val="80000"/>
              <a:buFont typeface="Courier New" panose="02070309020205020404" pitchFamily="49" charset="0"/>
              <a:buChar char="o"/>
              <a:defRPr sz="1800"/>
            </a:lvl5pPr>
            <a:lvl6pPr marL="971550" indent="-285750">
              <a:lnSpc>
                <a:spcPct val="100000"/>
              </a:lnSpc>
              <a:spcBef>
                <a:spcPts val="600"/>
              </a:spcBef>
              <a:buClr>
                <a:schemeClr val="accent1"/>
              </a:buClr>
              <a:buSzPct val="80000"/>
              <a:buFont typeface="Courier New" panose="02070309020205020404" pitchFamily="49" charset="0"/>
              <a:buChar char="o"/>
              <a:defRPr sz="1800"/>
            </a:lvl6pPr>
            <a:lvl7pPr marL="1200150" indent="-285750">
              <a:lnSpc>
                <a:spcPct val="100000"/>
              </a:lnSpc>
              <a:spcBef>
                <a:spcPts val="600"/>
              </a:spcBef>
              <a:buClr>
                <a:schemeClr val="accent1"/>
              </a:buClr>
              <a:buSzPct val="80000"/>
              <a:buFont typeface="Courier New" panose="02070309020205020404" pitchFamily="49" charset="0"/>
              <a:buChar char="o"/>
              <a:defRPr sz="1800"/>
            </a:lvl7pPr>
          </a:lstStyle>
          <a:p>
            <a:pPr lvl="0"/>
            <a:r>
              <a:rPr lang="en-US" dirty="0"/>
              <a:t>Headline</a:t>
            </a:r>
          </a:p>
          <a:p>
            <a:pPr lvl="1"/>
            <a:r>
              <a:rPr lang="en-US" dirty="0"/>
              <a:t>Subhead</a:t>
            </a:r>
          </a:p>
          <a:p>
            <a:pPr lvl="2"/>
            <a:r>
              <a:rPr lang="en-US" dirty="0"/>
              <a:t>First level</a:t>
            </a:r>
          </a:p>
          <a:p>
            <a:pPr lvl="3"/>
            <a:r>
              <a:rPr lang="en-US" dirty="0"/>
              <a:t>Second level</a:t>
            </a:r>
          </a:p>
          <a:p>
            <a:pPr lvl="4"/>
            <a:r>
              <a:rPr lang="en-US" dirty="0"/>
              <a:t>Third level</a:t>
            </a:r>
          </a:p>
          <a:p>
            <a:pPr lvl="5"/>
            <a:r>
              <a:rPr lang="en-US" dirty="0"/>
              <a:t>Fourth level</a:t>
            </a:r>
          </a:p>
          <a:p>
            <a:pPr lvl="6"/>
            <a:r>
              <a:rPr lang="en-US" dirty="0"/>
              <a:t>Fifth level</a:t>
            </a:r>
          </a:p>
        </p:txBody>
      </p:sp>
      <p:sp>
        <p:nvSpPr>
          <p:cNvPr id="20" name="Text Placeholder 14">
            <a:extLst>
              <a:ext uri="{FF2B5EF4-FFF2-40B4-BE49-F238E27FC236}">
                <a16:creationId xmlns:a16="http://schemas.microsoft.com/office/drawing/2014/main" id="{7F205104-07AA-E53F-964A-285119F06E99}"/>
              </a:ext>
            </a:extLst>
          </p:cNvPr>
          <p:cNvSpPr>
            <a:spLocks noGrp="1"/>
          </p:cNvSpPr>
          <p:nvPr>
            <p:ph type="body" sz="quarter" idx="18" hasCustomPrompt="1"/>
          </p:nvPr>
        </p:nvSpPr>
        <p:spPr>
          <a:xfrm>
            <a:off x="6308147" y="1371600"/>
            <a:ext cx="5299387" cy="4354195"/>
          </a:xfrm>
          <a:solidFill>
            <a:schemeClr val="bg1">
              <a:lumMod val="95000"/>
            </a:schemeClr>
          </a:solidFill>
        </p:spPr>
        <p:txBody>
          <a:bodyPr lIns="45720" tIns="45720" rIns="45720" bIns="45720">
            <a:normAutofit/>
          </a:bodyPr>
          <a:lstStyle>
            <a:lvl1pPr marL="0" indent="0" algn="l">
              <a:buNone/>
              <a:defRPr sz="2000" b="0">
                <a:solidFill>
                  <a:schemeClr val="accent1"/>
                </a:solidFill>
              </a:defRPr>
            </a:lvl1pPr>
            <a:lvl2pPr marL="0" indent="0">
              <a:spcBef>
                <a:spcPts val="600"/>
              </a:spcBef>
              <a:buClr>
                <a:schemeClr val="accent1"/>
              </a:buClr>
              <a:buSzPct val="60000"/>
              <a:buFont typeface="Wingdings" panose="05000000000000000000" pitchFamily="2" charset="2"/>
              <a:buNone/>
              <a:defRPr sz="1800"/>
            </a:lvl2pPr>
            <a:lvl3pPr marL="285750" indent="-285750">
              <a:lnSpc>
                <a:spcPct val="100000"/>
              </a:lnSpc>
              <a:spcBef>
                <a:spcPts val="600"/>
              </a:spcBef>
              <a:buFont typeface="Arial" panose="020B0604020202020204" pitchFamily="34" charset="0"/>
              <a:buChar char="•"/>
              <a:defRPr sz="1800"/>
            </a:lvl3pPr>
            <a:lvl4pPr marL="514350" indent="-285750">
              <a:lnSpc>
                <a:spcPct val="100000"/>
              </a:lnSpc>
              <a:spcBef>
                <a:spcPts val="600"/>
              </a:spcBef>
              <a:buClr>
                <a:schemeClr val="accent1"/>
              </a:buClr>
              <a:buSzPct val="80000"/>
              <a:buFont typeface="Courier New" panose="02070309020205020404" pitchFamily="49" charset="0"/>
              <a:buChar char="o"/>
              <a:defRPr sz="1800"/>
            </a:lvl4pPr>
            <a:lvl5pPr marL="742950" indent="-285750">
              <a:lnSpc>
                <a:spcPct val="100000"/>
              </a:lnSpc>
              <a:spcBef>
                <a:spcPts val="600"/>
              </a:spcBef>
              <a:buClr>
                <a:schemeClr val="accent1"/>
              </a:buClr>
              <a:buSzPct val="80000"/>
              <a:buFont typeface="Courier New" panose="02070309020205020404" pitchFamily="49" charset="0"/>
              <a:buChar char="o"/>
              <a:defRPr sz="1800"/>
            </a:lvl5pPr>
            <a:lvl6pPr marL="971550" indent="-285750">
              <a:lnSpc>
                <a:spcPct val="100000"/>
              </a:lnSpc>
              <a:spcBef>
                <a:spcPts val="600"/>
              </a:spcBef>
              <a:buClr>
                <a:schemeClr val="accent1"/>
              </a:buClr>
              <a:buSzPct val="80000"/>
              <a:buFont typeface="Courier New" panose="02070309020205020404" pitchFamily="49" charset="0"/>
              <a:buChar char="o"/>
              <a:defRPr sz="1800"/>
            </a:lvl6pPr>
            <a:lvl7pPr marL="1200150" indent="-285750">
              <a:lnSpc>
                <a:spcPct val="100000"/>
              </a:lnSpc>
              <a:spcBef>
                <a:spcPts val="600"/>
              </a:spcBef>
              <a:buClr>
                <a:schemeClr val="accent1"/>
              </a:buClr>
              <a:buSzPct val="80000"/>
              <a:buFont typeface="Courier New" panose="02070309020205020404" pitchFamily="49" charset="0"/>
              <a:buChar char="o"/>
              <a:defRPr sz="1800"/>
            </a:lvl7pPr>
          </a:lstStyle>
          <a:p>
            <a:pPr lvl="0"/>
            <a:r>
              <a:rPr lang="en-US" dirty="0"/>
              <a:t>Headline</a:t>
            </a:r>
          </a:p>
          <a:p>
            <a:pPr lvl="1"/>
            <a:r>
              <a:rPr lang="en-US" dirty="0"/>
              <a:t>Subhead</a:t>
            </a:r>
          </a:p>
          <a:p>
            <a:pPr lvl="2"/>
            <a:r>
              <a:rPr lang="en-US" dirty="0"/>
              <a:t>First level</a:t>
            </a:r>
          </a:p>
          <a:p>
            <a:pPr lvl="3"/>
            <a:r>
              <a:rPr lang="en-US" dirty="0"/>
              <a:t>Second level</a:t>
            </a:r>
          </a:p>
          <a:p>
            <a:pPr lvl="4"/>
            <a:r>
              <a:rPr lang="en-US" dirty="0"/>
              <a:t>Third level</a:t>
            </a:r>
          </a:p>
          <a:p>
            <a:pPr lvl="5"/>
            <a:r>
              <a:rPr lang="en-US" dirty="0"/>
              <a:t>Fourth level</a:t>
            </a:r>
          </a:p>
          <a:p>
            <a:pPr lvl="6"/>
            <a:r>
              <a:rPr lang="en-US" dirty="0"/>
              <a:t>Fifth level</a:t>
            </a:r>
          </a:p>
        </p:txBody>
      </p:sp>
      <p:pic>
        <p:nvPicPr>
          <p:cNvPr id="11" name="Picture 10">
            <a:extLst>
              <a:ext uri="{FF2B5EF4-FFF2-40B4-BE49-F238E27FC236}">
                <a16:creationId xmlns:a16="http://schemas.microsoft.com/office/drawing/2014/main" id="{ACC44F86-0580-BFE7-4ECC-B9D02A2EF0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63000" y="6398829"/>
            <a:ext cx="3073400" cy="293977"/>
          </a:xfrm>
          <a:prstGeom prst="rect">
            <a:avLst/>
          </a:prstGeom>
        </p:spPr>
      </p:pic>
      <p:sp>
        <p:nvSpPr>
          <p:cNvPr id="3" name="Slide Number Placeholder 3">
            <a:extLst>
              <a:ext uri="{FF2B5EF4-FFF2-40B4-BE49-F238E27FC236}">
                <a16:creationId xmlns:a16="http://schemas.microsoft.com/office/drawing/2014/main" id="{767B84E8-8D78-FF03-8C58-BBD420555368}"/>
              </a:ext>
            </a:extLst>
          </p:cNvPr>
          <p:cNvSpPr txBox="1">
            <a:spLocks/>
          </p:cNvSpPr>
          <p:nvPr userDrawn="1"/>
        </p:nvSpPr>
        <p:spPr>
          <a:xfrm>
            <a:off x="458605" y="6417198"/>
            <a:ext cx="455795" cy="326582"/>
          </a:xfrm>
          <a:prstGeom prst="rect">
            <a:avLst/>
          </a:prstGeom>
        </p:spPr>
        <p:txBody>
          <a:bodyPr/>
          <a:lstStyle>
            <a:defPPr>
              <a:defRPr lang="en-US"/>
            </a:defPPr>
            <a:lvl1pPr marL="0" algn="l" defTabSz="914400" rtl="0" eaLnBrk="1" latinLnBrk="0" hangingPunct="1">
              <a:defRPr sz="1400" b="1" i="0" kern="1200">
                <a:solidFill>
                  <a:schemeClr val="bg1"/>
                </a:solidFill>
                <a:latin typeface="Ted Next DemiBold" panose="02000507000000000004"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98E9DD-AA04-43A0-8C50-5990FB3A8D56}" type="slidenum">
              <a:rPr lang="en-US" smtClean="0"/>
              <a:pPr/>
              <a:t>‹#›</a:t>
            </a:fld>
            <a:endParaRPr lang="en-US" dirty="0"/>
          </a:p>
        </p:txBody>
      </p:sp>
      <p:sp>
        <p:nvSpPr>
          <p:cNvPr id="4" name="Title 1">
            <a:extLst>
              <a:ext uri="{FF2B5EF4-FFF2-40B4-BE49-F238E27FC236}">
                <a16:creationId xmlns:a16="http://schemas.microsoft.com/office/drawing/2014/main" id="{FA98D68F-7984-C522-8117-9AD3F3753553}"/>
              </a:ext>
            </a:extLst>
          </p:cNvPr>
          <p:cNvSpPr>
            <a:spLocks noGrp="1"/>
          </p:cNvSpPr>
          <p:nvPr>
            <p:ph type="title" hasCustomPrompt="1"/>
          </p:nvPr>
        </p:nvSpPr>
        <p:spPr>
          <a:xfrm>
            <a:off x="609601" y="208148"/>
            <a:ext cx="10972800" cy="546787"/>
          </a:xfrm>
        </p:spPr>
        <p:txBody>
          <a:bodyPr anchor="b" anchorCtr="0"/>
          <a:lstStyle>
            <a:lvl1pPr>
              <a:defRPr>
                <a:solidFill>
                  <a:schemeClr val="accent1"/>
                </a:solidFill>
              </a:defRPr>
            </a:lvl1pPr>
          </a:lstStyle>
          <a:p>
            <a:r>
              <a:rPr lang="en-US" dirty="0"/>
              <a:t>Click to add title</a:t>
            </a:r>
          </a:p>
        </p:txBody>
      </p:sp>
      <p:sp>
        <p:nvSpPr>
          <p:cNvPr id="6" name="Text Placeholder 12">
            <a:extLst>
              <a:ext uri="{FF2B5EF4-FFF2-40B4-BE49-F238E27FC236}">
                <a16:creationId xmlns:a16="http://schemas.microsoft.com/office/drawing/2014/main" id="{F0DF166C-1B49-79FA-0A4F-28685205BCBE}"/>
              </a:ext>
            </a:extLst>
          </p:cNvPr>
          <p:cNvSpPr>
            <a:spLocks noGrp="1"/>
          </p:cNvSpPr>
          <p:nvPr>
            <p:ph type="body" sz="quarter" idx="23" hasCustomPrompt="1"/>
          </p:nvPr>
        </p:nvSpPr>
        <p:spPr>
          <a:xfrm>
            <a:off x="609601" y="757954"/>
            <a:ext cx="10972800" cy="516060"/>
          </a:xfrm>
        </p:spPr>
        <p:txBody>
          <a:bodyPr anchor="t" anchorCtr="0">
            <a:normAutofit/>
          </a:bodyPr>
          <a:lstStyle>
            <a:lvl1pPr>
              <a:defRPr sz="2000" b="0" i="0">
                <a:latin typeface="Ted Next" panose="02000507000000000004" pitchFamily="2" charset="77"/>
              </a:defRPr>
            </a:lvl1pPr>
          </a:lstStyle>
          <a:p>
            <a:pPr lvl="0"/>
            <a:r>
              <a:rPr lang="en-US" dirty="0"/>
              <a:t>Click to add subtitle</a:t>
            </a:r>
          </a:p>
        </p:txBody>
      </p:sp>
    </p:spTree>
    <p:extLst>
      <p:ext uri="{BB962C8B-B14F-4D97-AF65-F5344CB8AC3E}">
        <p14:creationId xmlns:p14="http://schemas.microsoft.com/office/powerpoint/2010/main" val="32844031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e Got You Key Image">
    <p:bg>
      <p:bgPr>
        <a:solidFill>
          <a:schemeClr val="bg1"/>
        </a:solidFill>
        <a:effectLst/>
      </p:bgPr>
    </p:bg>
    <p:spTree>
      <p:nvGrpSpPr>
        <p:cNvPr id="1" name=""/>
        <p:cNvGrpSpPr/>
        <p:nvPr/>
      </p:nvGrpSpPr>
      <p:grpSpPr>
        <a:xfrm>
          <a:off x="0" y="0"/>
          <a:ext cx="0" cy="0"/>
          <a:chOff x="0" y="0"/>
          <a:chExt cx="0" cy="0"/>
        </a:xfrm>
      </p:grpSpPr>
      <p:pic>
        <p:nvPicPr>
          <p:cNvPr id="3" name="Google Shape;319;p70" descr="Woman laughing with red headline that reads &quot;We got you.&quot;">
            <a:extLst>
              <a:ext uri="{FF2B5EF4-FFF2-40B4-BE49-F238E27FC236}">
                <a16:creationId xmlns:a16="http://schemas.microsoft.com/office/drawing/2014/main" id="{728FAB9C-D10D-2B67-4B01-3390638E942B}"/>
              </a:ext>
              <a:ext uri="{C183D7F6-B498-43B3-948B-1728B52AA6E4}">
                <adec:decorative xmlns:adec="http://schemas.microsoft.com/office/drawing/2017/decorative" val="0"/>
              </a:ext>
            </a:extLst>
          </p:cNvPr>
          <p:cNvPicPr preferRelativeResize="0"/>
          <p:nvPr userDrawn="1"/>
        </p:nvPicPr>
        <p:blipFill rotWithShape="1">
          <a:blip r:embed="rId2">
            <a:alphaModFix/>
          </a:blip>
          <a:srcRect/>
          <a:stretch/>
        </p:blipFill>
        <p:spPr>
          <a:xfrm>
            <a:off x="0" y="0"/>
            <a:ext cx="12192000" cy="6858000"/>
          </a:xfrm>
          <a:prstGeom prst="rect">
            <a:avLst/>
          </a:prstGeom>
          <a:noFill/>
          <a:ln>
            <a:noFill/>
          </a:ln>
        </p:spPr>
      </p:pic>
    </p:spTree>
    <p:extLst>
      <p:ext uri="{BB962C8B-B14F-4D97-AF65-F5344CB8AC3E}">
        <p14:creationId xmlns:p14="http://schemas.microsoft.com/office/powerpoint/2010/main" val="1280465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e Got You End Frame">
    <p:bg>
      <p:bgPr>
        <a:solidFill>
          <a:schemeClr val="bg1"/>
        </a:solidFill>
        <a:effectLst/>
      </p:bgPr>
    </p:bg>
    <p:spTree>
      <p:nvGrpSpPr>
        <p:cNvPr id="1" name=""/>
        <p:cNvGrpSpPr/>
        <p:nvPr/>
      </p:nvGrpSpPr>
      <p:grpSpPr>
        <a:xfrm>
          <a:off x="0" y="0"/>
          <a:ext cx="0" cy="0"/>
          <a:chOff x="0" y="0"/>
          <a:chExt cx="0" cy="0"/>
        </a:xfrm>
      </p:grpSpPr>
      <p:pic>
        <p:nvPicPr>
          <p:cNvPr id="5" name="Graphic 10">
            <a:extLst>
              <a:ext uri="{FF2B5EF4-FFF2-40B4-BE49-F238E27FC236}">
                <a16:creationId xmlns:a16="http://schemas.microsoft.com/office/drawing/2014/main" id="{F24782CC-0AE7-5569-9DFE-AE76C37F50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269952" y="6280514"/>
            <a:ext cx="1623956" cy="297819"/>
          </a:xfrm>
          <a:prstGeom prst="rect">
            <a:avLst/>
          </a:prstGeom>
        </p:spPr>
      </p:pic>
      <p:pic>
        <p:nvPicPr>
          <p:cNvPr id="2" name="Picture 2">
            <a:extLst>
              <a:ext uri="{FF2B5EF4-FFF2-40B4-BE49-F238E27FC236}">
                <a16:creationId xmlns:a16="http://schemas.microsoft.com/office/drawing/2014/main" id="{6D4BD993-8DCC-6756-F256-F4B8FD0E42B5}"/>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762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 Text + Char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7BF4CE1C-A9F8-5B41-EBBB-F74E6E93FB0D}"/>
              </a:ext>
            </a:extLst>
          </p:cNvPr>
          <p:cNvSpPr>
            <a:spLocks noGrp="1"/>
          </p:cNvSpPr>
          <p:nvPr>
            <p:ph type="body" sz="quarter" idx="16"/>
          </p:nvPr>
        </p:nvSpPr>
        <p:spPr>
          <a:xfrm>
            <a:off x="601663" y="1354440"/>
            <a:ext cx="3034997" cy="4751084"/>
          </a:xfrm>
        </p:spPr>
        <p:txBody>
          <a:bodyPr>
            <a:noAutofit/>
          </a:bodyPr>
          <a:lstStyle>
            <a:lvl1pPr marL="1350" indent="0">
              <a:buClr>
                <a:schemeClr val="accent1"/>
              </a:buClr>
              <a:buFont typeface="Arial" panose="020B0604020202020204" pitchFamily="34" charset="0"/>
              <a:buNone/>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4111309" y="1354137"/>
            <a:ext cx="7486965" cy="4751387"/>
          </a:xfrm>
        </p:spPr>
        <p:txBody>
          <a:bodyPr anchor="ctr"/>
          <a:lstStyle>
            <a:lvl1pPr algn="ctr">
              <a:defRPr>
                <a:solidFill>
                  <a:schemeClr val="bg1"/>
                </a:solidFill>
              </a:defRPr>
            </a:lvl1pPr>
          </a:lstStyle>
          <a:p>
            <a:r>
              <a:rPr lang="en-US"/>
              <a:t>Click icon to add chart</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3341902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Up Image + R Title (Red)">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2BCEE2C-0D9C-86F1-0DAA-A3BE9CA0D4C5}"/>
              </a:ext>
            </a:extLst>
          </p:cNvPr>
          <p:cNvSpPr>
            <a:spLocks noGrp="1"/>
          </p:cNvSpPr>
          <p:nvPr>
            <p:ph type="pic" sz="quarter" idx="14"/>
          </p:nvPr>
        </p:nvSpPr>
        <p:spPr>
          <a:xfrm>
            <a:off x="-3175" y="0"/>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8" name="Picture Placeholder 16">
            <a:extLst>
              <a:ext uri="{FF2B5EF4-FFF2-40B4-BE49-F238E27FC236}">
                <a16:creationId xmlns:a16="http://schemas.microsoft.com/office/drawing/2014/main" id="{18C54999-072F-3711-419D-BFC7AEB05F9D}"/>
              </a:ext>
            </a:extLst>
          </p:cNvPr>
          <p:cNvSpPr>
            <a:spLocks noGrp="1"/>
          </p:cNvSpPr>
          <p:nvPr>
            <p:ph type="pic" sz="quarter" idx="15"/>
          </p:nvPr>
        </p:nvSpPr>
        <p:spPr>
          <a:xfrm>
            <a:off x="3479441" y="0"/>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9" name="Picture Placeholder 16">
            <a:extLst>
              <a:ext uri="{FF2B5EF4-FFF2-40B4-BE49-F238E27FC236}">
                <a16:creationId xmlns:a16="http://schemas.microsoft.com/office/drawing/2014/main" id="{82204D1F-BDBC-66FA-B042-BDF5C343A139}"/>
              </a:ext>
            </a:extLst>
          </p:cNvPr>
          <p:cNvSpPr>
            <a:spLocks noGrp="1"/>
          </p:cNvSpPr>
          <p:nvPr>
            <p:ph type="pic" sz="quarter" idx="16"/>
          </p:nvPr>
        </p:nvSpPr>
        <p:spPr>
          <a:xfrm>
            <a:off x="-3175" y="2309994"/>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0" name="Picture Placeholder 16">
            <a:extLst>
              <a:ext uri="{FF2B5EF4-FFF2-40B4-BE49-F238E27FC236}">
                <a16:creationId xmlns:a16="http://schemas.microsoft.com/office/drawing/2014/main" id="{D0417C70-9148-C462-F395-45998562820C}"/>
              </a:ext>
            </a:extLst>
          </p:cNvPr>
          <p:cNvSpPr>
            <a:spLocks noGrp="1"/>
          </p:cNvSpPr>
          <p:nvPr>
            <p:ph type="pic" sz="quarter" idx="17"/>
          </p:nvPr>
        </p:nvSpPr>
        <p:spPr>
          <a:xfrm>
            <a:off x="3479441" y="2309994"/>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1" name="Picture Placeholder 16">
            <a:extLst>
              <a:ext uri="{FF2B5EF4-FFF2-40B4-BE49-F238E27FC236}">
                <a16:creationId xmlns:a16="http://schemas.microsoft.com/office/drawing/2014/main" id="{31A5F39D-E1C7-9EA5-9174-852E7C63A801}"/>
              </a:ext>
            </a:extLst>
          </p:cNvPr>
          <p:cNvSpPr>
            <a:spLocks noGrp="1"/>
          </p:cNvSpPr>
          <p:nvPr>
            <p:ph type="pic" sz="quarter" idx="18"/>
          </p:nvPr>
        </p:nvSpPr>
        <p:spPr>
          <a:xfrm>
            <a:off x="-3175" y="4615971"/>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2" name="Picture Placeholder 16">
            <a:extLst>
              <a:ext uri="{FF2B5EF4-FFF2-40B4-BE49-F238E27FC236}">
                <a16:creationId xmlns:a16="http://schemas.microsoft.com/office/drawing/2014/main" id="{FE772EA7-3DE0-A8C6-913F-210E04ACCBF1}"/>
              </a:ext>
            </a:extLst>
          </p:cNvPr>
          <p:cNvSpPr>
            <a:spLocks noGrp="1"/>
          </p:cNvSpPr>
          <p:nvPr>
            <p:ph type="pic" sz="quarter" idx="19"/>
          </p:nvPr>
        </p:nvSpPr>
        <p:spPr>
          <a:xfrm>
            <a:off x="3479441" y="4615971"/>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7294479" y="365125"/>
            <a:ext cx="4295858" cy="1911292"/>
          </a:xfrm>
        </p:spPr>
        <p:txBody>
          <a:bodyPr>
            <a:normAutofit/>
          </a:bodyPr>
          <a:lstStyle>
            <a:lvl1pPr>
              <a:lnSpc>
                <a:spcPct val="85000"/>
              </a:lnSpc>
              <a:defRPr sz="4600">
                <a:solidFill>
                  <a:schemeClr val="bg1"/>
                </a:solidFill>
              </a:defRPr>
            </a:lvl1pPr>
          </a:lstStyle>
          <a:p>
            <a:r>
              <a:rPr lang="en-US"/>
              <a:t>Click to edit Master title style</a:t>
            </a:r>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7294563" y="2434604"/>
            <a:ext cx="4303712"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3" name="Freeform 12">
            <a:extLst>
              <a:ext uri="{FF2B5EF4-FFF2-40B4-BE49-F238E27FC236}">
                <a16:creationId xmlns:a16="http://schemas.microsoft.com/office/drawing/2014/main" id="{EDFBBA53-4345-DD03-B7BD-0590AE3B8A3B}"/>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4" name="Slide Number Placeholder 5">
            <a:extLst>
              <a:ext uri="{FF2B5EF4-FFF2-40B4-BE49-F238E27FC236}">
                <a16:creationId xmlns:a16="http://schemas.microsoft.com/office/drawing/2014/main" id="{AE2C6689-28BC-D3FC-49A3-061E3520D727}"/>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41880737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Up Image + R Title (Black)">
    <p:bg>
      <p:bgPr>
        <a:solidFill>
          <a:schemeClr val="tx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2BCEE2C-0D9C-86F1-0DAA-A3BE9CA0D4C5}"/>
              </a:ext>
            </a:extLst>
          </p:cNvPr>
          <p:cNvSpPr>
            <a:spLocks noGrp="1"/>
          </p:cNvSpPr>
          <p:nvPr>
            <p:ph type="pic" sz="quarter" idx="14"/>
          </p:nvPr>
        </p:nvSpPr>
        <p:spPr>
          <a:xfrm>
            <a:off x="-3175" y="0"/>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8" name="Picture Placeholder 16">
            <a:extLst>
              <a:ext uri="{FF2B5EF4-FFF2-40B4-BE49-F238E27FC236}">
                <a16:creationId xmlns:a16="http://schemas.microsoft.com/office/drawing/2014/main" id="{18C54999-072F-3711-419D-BFC7AEB05F9D}"/>
              </a:ext>
            </a:extLst>
          </p:cNvPr>
          <p:cNvSpPr>
            <a:spLocks noGrp="1"/>
          </p:cNvSpPr>
          <p:nvPr>
            <p:ph type="pic" sz="quarter" idx="15"/>
          </p:nvPr>
        </p:nvSpPr>
        <p:spPr>
          <a:xfrm>
            <a:off x="3479441" y="0"/>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9" name="Picture Placeholder 16">
            <a:extLst>
              <a:ext uri="{FF2B5EF4-FFF2-40B4-BE49-F238E27FC236}">
                <a16:creationId xmlns:a16="http://schemas.microsoft.com/office/drawing/2014/main" id="{82204D1F-BDBC-66FA-B042-BDF5C343A139}"/>
              </a:ext>
            </a:extLst>
          </p:cNvPr>
          <p:cNvSpPr>
            <a:spLocks noGrp="1"/>
          </p:cNvSpPr>
          <p:nvPr>
            <p:ph type="pic" sz="quarter" idx="16"/>
          </p:nvPr>
        </p:nvSpPr>
        <p:spPr>
          <a:xfrm>
            <a:off x="-3175" y="2309994"/>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0" name="Picture Placeholder 16">
            <a:extLst>
              <a:ext uri="{FF2B5EF4-FFF2-40B4-BE49-F238E27FC236}">
                <a16:creationId xmlns:a16="http://schemas.microsoft.com/office/drawing/2014/main" id="{D0417C70-9148-C462-F395-45998562820C}"/>
              </a:ext>
            </a:extLst>
          </p:cNvPr>
          <p:cNvSpPr>
            <a:spLocks noGrp="1"/>
          </p:cNvSpPr>
          <p:nvPr>
            <p:ph type="pic" sz="quarter" idx="17"/>
          </p:nvPr>
        </p:nvSpPr>
        <p:spPr>
          <a:xfrm>
            <a:off x="3479441" y="2309994"/>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1" name="Picture Placeholder 16">
            <a:extLst>
              <a:ext uri="{FF2B5EF4-FFF2-40B4-BE49-F238E27FC236}">
                <a16:creationId xmlns:a16="http://schemas.microsoft.com/office/drawing/2014/main" id="{31A5F39D-E1C7-9EA5-9174-852E7C63A801}"/>
              </a:ext>
            </a:extLst>
          </p:cNvPr>
          <p:cNvSpPr>
            <a:spLocks noGrp="1"/>
          </p:cNvSpPr>
          <p:nvPr>
            <p:ph type="pic" sz="quarter" idx="18"/>
          </p:nvPr>
        </p:nvSpPr>
        <p:spPr>
          <a:xfrm>
            <a:off x="-3175" y="4615971"/>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2" name="Picture Placeholder 16">
            <a:extLst>
              <a:ext uri="{FF2B5EF4-FFF2-40B4-BE49-F238E27FC236}">
                <a16:creationId xmlns:a16="http://schemas.microsoft.com/office/drawing/2014/main" id="{FE772EA7-3DE0-A8C6-913F-210E04ACCBF1}"/>
              </a:ext>
            </a:extLst>
          </p:cNvPr>
          <p:cNvSpPr>
            <a:spLocks noGrp="1"/>
          </p:cNvSpPr>
          <p:nvPr>
            <p:ph type="pic" sz="quarter" idx="19"/>
          </p:nvPr>
        </p:nvSpPr>
        <p:spPr>
          <a:xfrm>
            <a:off x="3479441" y="4615971"/>
            <a:ext cx="3395663" cy="22352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7294563" y="2434604"/>
            <a:ext cx="4303712"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40561CC-BBB0-A875-C30B-77B88638293E}"/>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2" name="Title 1">
            <a:extLst>
              <a:ext uri="{FF2B5EF4-FFF2-40B4-BE49-F238E27FC236}">
                <a16:creationId xmlns:a16="http://schemas.microsoft.com/office/drawing/2014/main" id="{D5CE846A-5C1D-CE6C-B9AF-B514FA04C2CD}"/>
              </a:ext>
            </a:extLst>
          </p:cNvPr>
          <p:cNvSpPr>
            <a:spLocks noGrp="1"/>
          </p:cNvSpPr>
          <p:nvPr>
            <p:ph type="title"/>
          </p:nvPr>
        </p:nvSpPr>
        <p:spPr>
          <a:xfrm>
            <a:off x="7294479" y="365125"/>
            <a:ext cx="4295858" cy="1911292"/>
          </a:xfrm>
        </p:spPr>
        <p:txBody>
          <a:bodyPr>
            <a:normAutofit/>
          </a:bodyPr>
          <a:lstStyle>
            <a:lvl1pPr>
              <a:lnSpc>
                <a:spcPct val="85000"/>
              </a:lnSpc>
              <a:defRPr sz="4600">
                <a:solidFill>
                  <a:schemeClr val="bg1"/>
                </a:solidFill>
              </a:defRPr>
            </a:lvl1pPr>
          </a:lstStyle>
          <a:p>
            <a:r>
              <a:rPr lang="en-US"/>
              <a:t>Click to edit Master title style</a:t>
            </a:r>
          </a:p>
        </p:txBody>
      </p:sp>
    </p:spTree>
    <p:extLst>
      <p:ext uri="{BB962C8B-B14F-4D97-AF65-F5344CB8AC3E}">
        <p14:creationId xmlns:p14="http://schemas.microsoft.com/office/powerpoint/2010/main" val="40388248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 Image + R Title (Black)">
    <p:bg>
      <p:bgPr>
        <a:solidFill>
          <a:schemeClr val="tx1"/>
        </a:solidFill>
        <a:effectLst/>
      </p:bgPr>
    </p:bg>
    <p:spTree>
      <p:nvGrpSpPr>
        <p:cNvPr id="1" name=""/>
        <p:cNvGrpSpPr/>
        <p:nvPr/>
      </p:nvGrpSpPr>
      <p:grpSpPr>
        <a:xfrm>
          <a:off x="0" y="0"/>
          <a:ext cx="0" cy="0"/>
          <a:chOff x="0" y="0"/>
          <a:chExt cx="0" cy="0"/>
        </a:xfrm>
      </p:grpSpPr>
      <p:sp>
        <p:nvSpPr>
          <p:cNvPr id="4" name="Picture Placeholder 16">
            <a:extLst>
              <a:ext uri="{FF2B5EF4-FFF2-40B4-BE49-F238E27FC236}">
                <a16:creationId xmlns:a16="http://schemas.microsoft.com/office/drawing/2014/main" id="{E089DB9B-1A97-F99D-D39E-E408EECC91F7}"/>
              </a:ext>
            </a:extLst>
          </p:cNvPr>
          <p:cNvSpPr>
            <a:spLocks noGrp="1"/>
          </p:cNvSpPr>
          <p:nvPr>
            <p:ph type="pic" sz="quarter" idx="14"/>
          </p:nvPr>
        </p:nvSpPr>
        <p:spPr>
          <a:xfrm>
            <a:off x="-3175" y="0"/>
            <a:ext cx="6781800" cy="68580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7294479" y="1031875"/>
            <a:ext cx="4295858" cy="2492990"/>
          </a:xfrm>
        </p:spPr>
        <p:txBody>
          <a:bodyPr>
            <a:normAutofit/>
          </a:bodyPr>
          <a:lstStyle>
            <a:lvl1pPr>
              <a:lnSpc>
                <a:spcPct val="85000"/>
              </a:lnSpc>
              <a:defRPr sz="6000">
                <a:solidFill>
                  <a:schemeClr val="bg1"/>
                </a:solidFill>
              </a:defRPr>
            </a:lvl1pPr>
          </a:lstStyle>
          <a:p>
            <a:r>
              <a:rPr lang="en-US"/>
              <a:t>Click to edit Master title style</a:t>
            </a:r>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7294563" y="3706371"/>
            <a:ext cx="4303712"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D16565-0E89-E3A6-546E-5A4E54D4AF3D}"/>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2026734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 Image + R Title (Red)">
    <p:bg>
      <p:bgPr>
        <a:solidFill>
          <a:schemeClr val="accent1"/>
        </a:solidFill>
        <a:effectLst/>
      </p:bgPr>
    </p:bg>
    <p:spTree>
      <p:nvGrpSpPr>
        <p:cNvPr id="1" name=""/>
        <p:cNvGrpSpPr/>
        <p:nvPr/>
      </p:nvGrpSpPr>
      <p:grpSpPr>
        <a:xfrm>
          <a:off x="0" y="0"/>
          <a:ext cx="0" cy="0"/>
          <a:chOff x="0" y="0"/>
          <a:chExt cx="0" cy="0"/>
        </a:xfrm>
      </p:grpSpPr>
      <p:sp>
        <p:nvSpPr>
          <p:cNvPr id="4" name="Picture Placeholder 16">
            <a:extLst>
              <a:ext uri="{FF2B5EF4-FFF2-40B4-BE49-F238E27FC236}">
                <a16:creationId xmlns:a16="http://schemas.microsoft.com/office/drawing/2014/main" id="{E089DB9B-1A97-F99D-D39E-E408EECC91F7}"/>
              </a:ext>
            </a:extLst>
          </p:cNvPr>
          <p:cNvSpPr>
            <a:spLocks noGrp="1"/>
          </p:cNvSpPr>
          <p:nvPr>
            <p:ph type="pic" sz="quarter" idx="14"/>
          </p:nvPr>
        </p:nvSpPr>
        <p:spPr>
          <a:xfrm>
            <a:off x="-3175" y="0"/>
            <a:ext cx="6781800" cy="68580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7294563" y="3706371"/>
            <a:ext cx="4303712"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4" name="Freeform 13">
            <a:extLst>
              <a:ext uri="{FF2B5EF4-FFF2-40B4-BE49-F238E27FC236}">
                <a16:creationId xmlns:a16="http://schemas.microsoft.com/office/drawing/2014/main" id="{B0E1E5AF-47B8-FA45-C1F5-38E584EF6CD6}"/>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7" name="Slide Number Placeholder 5">
            <a:extLst>
              <a:ext uri="{FF2B5EF4-FFF2-40B4-BE49-F238E27FC236}">
                <a16:creationId xmlns:a16="http://schemas.microsoft.com/office/drawing/2014/main" id="{1C771A9A-3D8F-75CE-3D73-5AE6D3E44CCE}"/>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2" name="Title 1">
            <a:extLst>
              <a:ext uri="{FF2B5EF4-FFF2-40B4-BE49-F238E27FC236}">
                <a16:creationId xmlns:a16="http://schemas.microsoft.com/office/drawing/2014/main" id="{9723E270-E54F-90F2-6515-CDC4BD33DF9E}"/>
              </a:ext>
            </a:extLst>
          </p:cNvPr>
          <p:cNvSpPr>
            <a:spLocks noGrp="1"/>
          </p:cNvSpPr>
          <p:nvPr>
            <p:ph type="title"/>
          </p:nvPr>
        </p:nvSpPr>
        <p:spPr>
          <a:xfrm>
            <a:off x="7294479" y="1031875"/>
            <a:ext cx="4295858" cy="2492990"/>
          </a:xfrm>
        </p:spPr>
        <p:txBody>
          <a:bodyPr>
            <a:normAutofit/>
          </a:bodyPr>
          <a:lstStyle>
            <a:lvl1pPr>
              <a:lnSpc>
                <a:spcPct val="85000"/>
              </a:lnSpc>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3761909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 Image + 1-Col R Text (Black)">
    <p:bg>
      <p:bgPr>
        <a:solidFill>
          <a:schemeClr val="tx1"/>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C2C9B59A-2C06-7999-4C1E-1F635156C5AC}"/>
              </a:ext>
            </a:extLst>
          </p:cNvPr>
          <p:cNvSpPr>
            <a:spLocks noGrp="1"/>
          </p:cNvSpPr>
          <p:nvPr>
            <p:ph type="body" sz="quarter" idx="16"/>
          </p:nvPr>
        </p:nvSpPr>
        <p:spPr>
          <a:xfrm>
            <a:off x="5763709" y="1354440"/>
            <a:ext cx="5826629"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16">
            <a:extLst>
              <a:ext uri="{FF2B5EF4-FFF2-40B4-BE49-F238E27FC236}">
                <a16:creationId xmlns:a16="http://schemas.microsoft.com/office/drawing/2014/main" id="{E089DB9B-1A97-F99D-D39E-E408EECC91F7}"/>
              </a:ext>
            </a:extLst>
          </p:cNvPr>
          <p:cNvSpPr>
            <a:spLocks noGrp="1"/>
          </p:cNvSpPr>
          <p:nvPr>
            <p:ph type="pic" sz="quarter" idx="14"/>
          </p:nvPr>
        </p:nvSpPr>
        <p:spPr>
          <a:xfrm>
            <a:off x="-3175" y="0"/>
            <a:ext cx="5147207" cy="68580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5" name="Title 1">
            <a:extLst>
              <a:ext uri="{FF2B5EF4-FFF2-40B4-BE49-F238E27FC236}">
                <a16:creationId xmlns:a16="http://schemas.microsoft.com/office/drawing/2014/main" id="{02B056BF-C476-D007-FF16-79BA41A264E3}"/>
              </a:ext>
            </a:extLst>
          </p:cNvPr>
          <p:cNvSpPr>
            <a:spLocks noGrp="1"/>
          </p:cNvSpPr>
          <p:nvPr>
            <p:ph type="title"/>
          </p:nvPr>
        </p:nvSpPr>
        <p:spPr>
          <a:xfrm>
            <a:off x="5759983" y="365125"/>
            <a:ext cx="5830354" cy="387798"/>
          </a:xfrm>
        </p:spPr>
        <p:txBody>
          <a:bodyPr/>
          <a:lstStyle>
            <a:lvl1pPr>
              <a:defRPr>
                <a:solidFill>
                  <a:srgbClr val="FFFFFF"/>
                </a:solidFill>
              </a:defRPr>
            </a:lvl1pPr>
          </a:lstStyle>
          <a:p>
            <a:r>
              <a:rPr lang="en-US"/>
              <a:t>Click to edit Master title style</a:t>
            </a:r>
          </a:p>
        </p:txBody>
      </p:sp>
      <p:sp>
        <p:nvSpPr>
          <p:cNvPr id="6" name="Text Placeholder 6">
            <a:extLst>
              <a:ext uri="{FF2B5EF4-FFF2-40B4-BE49-F238E27FC236}">
                <a16:creationId xmlns:a16="http://schemas.microsoft.com/office/drawing/2014/main" id="{76BFBC39-3A76-0694-B40C-0069388A3496}"/>
              </a:ext>
            </a:extLst>
          </p:cNvPr>
          <p:cNvSpPr>
            <a:spLocks noGrp="1"/>
          </p:cNvSpPr>
          <p:nvPr>
            <p:ph type="body" sz="quarter" idx="13"/>
          </p:nvPr>
        </p:nvSpPr>
        <p:spPr>
          <a:xfrm>
            <a:off x="5763709" y="752475"/>
            <a:ext cx="5834566"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9F9F1487-9D20-9F28-05E2-E9AEAED20CCC}"/>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696603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 Image + 1-Col R Text (Red)">
    <p:bg>
      <p:bgPr>
        <a:solidFill>
          <a:schemeClr val="accent1"/>
        </a:solidFill>
        <a:effectLst/>
      </p:bgPr>
    </p:bg>
    <p:spTree>
      <p:nvGrpSpPr>
        <p:cNvPr id="1" name=""/>
        <p:cNvGrpSpPr/>
        <p:nvPr/>
      </p:nvGrpSpPr>
      <p:grpSpPr>
        <a:xfrm>
          <a:off x="0" y="0"/>
          <a:ext cx="0" cy="0"/>
          <a:chOff x="0" y="0"/>
          <a:chExt cx="0" cy="0"/>
        </a:xfrm>
      </p:grpSpPr>
      <p:sp>
        <p:nvSpPr>
          <p:cNvPr id="4" name="Picture Placeholder 16">
            <a:extLst>
              <a:ext uri="{FF2B5EF4-FFF2-40B4-BE49-F238E27FC236}">
                <a16:creationId xmlns:a16="http://schemas.microsoft.com/office/drawing/2014/main" id="{E089DB9B-1A97-F99D-D39E-E408EECC91F7}"/>
              </a:ext>
            </a:extLst>
          </p:cNvPr>
          <p:cNvSpPr>
            <a:spLocks noGrp="1"/>
          </p:cNvSpPr>
          <p:nvPr>
            <p:ph type="pic" sz="quarter" idx="14"/>
          </p:nvPr>
        </p:nvSpPr>
        <p:spPr>
          <a:xfrm>
            <a:off x="-3175" y="0"/>
            <a:ext cx="5147207" cy="6858000"/>
          </a:xfrm>
          <a:solidFill>
            <a:schemeClr val="bg1">
              <a:lumMod val="95000"/>
              <a:alpha val="50358"/>
            </a:schemeClr>
          </a:solidFill>
        </p:spPr>
        <p:txBody>
          <a:bodyPr anchor="ctr"/>
          <a:lstStyle>
            <a:lvl1pPr algn="ctr">
              <a:defRPr>
                <a:solidFill>
                  <a:schemeClr val="bg1"/>
                </a:solidFill>
              </a:defRPr>
            </a:lvl1pPr>
          </a:lstStyle>
          <a:p>
            <a:endParaRPr lang="en-US"/>
          </a:p>
        </p:txBody>
      </p:sp>
      <p:sp>
        <p:nvSpPr>
          <p:cNvPr id="5" name="Title 1">
            <a:extLst>
              <a:ext uri="{FF2B5EF4-FFF2-40B4-BE49-F238E27FC236}">
                <a16:creationId xmlns:a16="http://schemas.microsoft.com/office/drawing/2014/main" id="{02B056BF-C476-D007-FF16-79BA41A264E3}"/>
              </a:ext>
            </a:extLst>
          </p:cNvPr>
          <p:cNvSpPr>
            <a:spLocks noGrp="1"/>
          </p:cNvSpPr>
          <p:nvPr>
            <p:ph type="title"/>
          </p:nvPr>
        </p:nvSpPr>
        <p:spPr>
          <a:xfrm>
            <a:off x="5759983" y="365125"/>
            <a:ext cx="5830354" cy="387798"/>
          </a:xfrm>
        </p:spPr>
        <p:txBody>
          <a:bodyPr/>
          <a:lstStyle>
            <a:lvl1pPr>
              <a:defRPr>
                <a:solidFill>
                  <a:srgbClr val="FFFFFF"/>
                </a:solidFill>
              </a:defRPr>
            </a:lvl1pPr>
          </a:lstStyle>
          <a:p>
            <a:r>
              <a:rPr lang="en-US"/>
              <a:t>Click to edit Master title style</a:t>
            </a:r>
          </a:p>
        </p:txBody>
      </p:sp>
      <p:sp>
        <p:nvSpPr>
          <p:cNvPr id="6" name="Text Placeholder 6">
            <a:extLst>
              <a:ext uri="{FF2B5EF4-FFF2-40B4-BE49-F238E27FC236}">
                <a16:creationId xmlns:a16="http://schemas.microsoft.com/office/drawing/2014/main" id="{76BFBC39-3A76-0694-B40C-0069388A3496}"/>
              </a:ext>
            </a:extLst>
          </p:cNvPr>
          <p:cNvSpPr>
            <a:spLocks noGrp="1"/>
          </p:cNvSpPr>
          <p:nvPr>
            <p:ph type="body" sz="quarter" idx="13"/>
          </p:nvPr>
        </p:nvSpPr>
        <p:spPr>
          <a:xfrm>
            <a:off x="5763709" y="752475"/>
            <a:ext cx="5834566"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 name="Freeform 1">
            <a:extLst>
              <a:ext uri="{FF2B5EF4-FFF2-40B4-BE49-F238E27FC236}">
                <a16:creationId xmlns:a16="http://schemas.microsoft.com/office/drawing/2014/main" id="{CEE20108-CC44-4DDA-D3D2-F56E3354FEEE}"/>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3" name="Slide Number Placeholder 5">
            <a:extLst>
              <a:ext uri="{FF2B5EF4-FFF2-40B4-BE49-F238E27FC236}">
                <a16:creationId xmlns:a16="http://schemas.microsoft.com/office/drawing/2014/main" id="{E473797C-0FFF-0F39-82D1-5939FCB0F894}"/>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8" name="Text Placeholder 6">
            <a:extLst>
              <a:ext uri="{FF2B5EF4-FFF2-40B4-BE49-F238E27FC236}">
                <a16:creationId xmlns:a16="http://schemas.microsoft.com/office/drawing/2014/main" id="{8F6876B1-0F47-E712-D6E9-17E3978044DC}"/>
              </a:ext>
            </a:extLst>
          </p:cNvPr>
          <p:cNvSpPr>
            <a:spLocks noGrp="1"/>
          </p:cNvSpPr>
          <p:nvPr>
            <p:ph type="body" sz="quarter" idx="16"/>
          </p:nvPr>
        </p:nvSpPr>
        <p:spPr>
          <a:xfrm>
            <a:off x="5763709" y="1354440"/>
            <a:ext cx="5826629"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567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Col Text + Images (White)">
    <p:bg>
      <p:bgPr>
        <a:solidFill>
          <a:schemeClr val="bg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Picture Placeholder 16">
            <a:extLst>
              <a:ext uri="{FF2B5EF4-FFF2-40B4-BE49-F238E27FC236}">
                <a16:creationId xmlns:a16="http://schemas.microsoft.com/office/drawing/2014/main" id="{8CCE8023-09CC-D510-5C42-BB269099F60F}"/>
              </a:ext>
            </a:extLst>
          </p:cNvPr>
          <p:cNvSpPr>
            <a:spLocks noGrp="1"/>
          </p:cNvSpPr>
          <p:nvPr>
            <p:ph type="pic" sz="quarter" idx="19"/>
          </p:nvPr>
        </p:nvSpPr>
        <p:spPr>
          <a:xfrm>
            <a:off x="6298016"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3" name="Text Placeholder 6">
            <a:extLst>
              <a:ext uri="{FF2B5EF4-FFF2-40B4-BE49-F238E27FC236}">
                <a16:creationId xmlns:a16="http://schemas.microsoft.com/office/drawing/2014/main" id="{A42C505B-3D5C-3498-AE04-3562E0E40E92}"/>
              </a:ext>
            </a:extLst>
          </p:cNvPr>
          <p:cNvSpPr>
            <a:spLocks noGrp="1"/>
          </p:cNvSpPr>
          <p:nvPr>
            <p:ph type="body" sz="quarter" idx="16"/>
          </p:nvPr>
        </p:nvSpPr>
        <p:spPr>
          <a:xfrm>
            <a:off x="601662" y="3243627"/>
            <a:ext cx="5313263"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Text Placeholder 6">
            <a:extLst>
              <a:ext uri="{FF2B5EF4-FFF2-40B4-BE49-F238E27FC236}">
                <a16:creationId xmlns:a16="http://schemas.microsoft.com/office/drawing/2014/main" id="{83C62C1B-A51F-8E28-6A5D-4F5D5290BD7B}"/>
              </a:ext>
            </a:extLst>
          </p:cNvPr>
          <p:cNvSpPr>
            <a:spLocks noGrp="1"/>
          </p:cNvSpPr>
          <p:nvPr>
            <p:ph type="body" sz="quarter" idx="17"/>
          </p:nvPr>
        </p:nvSpPr>
        <p:spPr>
          <a:xfrm>
            <a:off x="6298015" y="3243627"/>
            <a:ext cx="5313263"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Text Placeholder 6">
            <a:extLst>
              <a:ext uri="{FF2B5EF4-FFF2-40B4-BE49-F238E27FC236}">
                <a16:creationId xmlns:a16="http://schemas.microsoft.com/office/drawing/2014/main" id="{0A417EBA-8DE5-CA0A-B682-FF7E81C4F7C3}"/>
              </a:ext>
            </a:extLst>
          </p:cNvPr>
          <p:cNvSpPr>
            <a:spLocks noGrp="1"/>
          </p:cNvSpPr>
          <p:nvPr>
            <p:ph type="body" sz="quarter" idx="20"/>
          </p:nvPr>
        </p:nvSpPr>
        <p:spPr>
          <a:xfrm>
            <a:off x="601663" y="3714550"/>
            <a:ext cx="5313262" cy="1963236"/>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45074F44-9FBD-2610-2C73-6E0DC600DC17}"/>
              </a:ext>
            </a:extLst>
          </p:cNvPr>
          <p:cNvSpPr>
            <a:spLocks noGrp="1"/>
          </p:cNvSpPr>
          <p:nvPr>
            <p:ph type="body" sz="quarter" idx="21"/>
          </p:nvPr>
        </p:nvSpPr>
        <p:spPr>
          <a:xfrm>
            <a:off x="6298016" y="3714550"/>
            <a:ext cx="5313262" cy="1963236"/>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4437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Col Text + Images (Black)">
    <p:bg>
      <p:bgPr>
        <a:solidFill>
          <a:schemeClr val="tx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4B4C9D6E-45E5-E0D1-AF17-C0BD25271EEA}"/>
              </a:ext>
            </a:extLst>
          </p:cNvPr>
          <p:cNvSpPr>
            <a:spLocks noGrp="1"/>
          </p:cNvSpPr>
          <p:nvPr>
            <p:ph type="body" sz="quarter" idx="16"/>
          </p:nvPr>
        </p:nvSpPr>
        <p:spPr>
          <a:xfrm>
            <a:off x="601662" y="3243627"/>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D6952A53-89F9-22A7-2B19-86B4A1BD29BC}"/>
              </a:ext>
            </a:extLst>
          </p:cNvPr>
          <p:cNvSpPr>
            <a:spLocks noGrp="1"/>
          </p:cNvSpPr>
          <p:nvPr>
            <p:ph type="body" sz="quarter" idx="17"/>
          </p:nvPr>
        </p:nvSpPr>
        <p:spPr>
          <a:xfrm>
            <a:off x="6298015" y="3243627"/>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Picture Placeholder 16">
            <a:extLst>
              <a:ext uri="{FF2B5EF4-FFF2-40B4-BE49-F238E27FC236}">
                <a16:creationId xmlns:a16="http://schemas.microsoft.com/office/drawing/2014/main" id="{8CCE8023-09CC-D510-5C42-BB269099F60F}"/>
              </a:ext>
            </a:extLst>
          </p:cNvPr>
          <p:cNvSpPr>
            <a:spLocks noGrp="1"/>
          </p:cNvSpPr>
          <p:nvPr>
            <p:ph type="pic" sz="quarter" idx="19"/>
          </p:nvPr>
        </p:nvSpPr>
        <p:spPr>
          <a:xfrm>
            <a:off x="6298016"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3" name="Slide Number Placeholder 5">
            <a:extLst>
              <a:ext uri="{FF2B5EF4-FFF2-40B4-BE49-F238E27FC236}">
                <a16:creationId xmlns:a16="http://schemas.microsoft.com/office/drawing/2014/main" id="{2A252C55-B954-C48E-E203-6855E3B835C0}"/>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6" name="Text Placeholder 6">
            <a:extLst>
              <a:ext uri="{FF2B5EF4-FFF2-40B4-BE49-F238E27FC236}">
                <a16:creationId xmlns:a16="http://schemas.microsoft.com/office/drawing/2014/main" id="{2AC52006-0B6D-CFE2-C68B-62CF16502DA7}"/>
              </a:ext>
            </a:extLst>
          </p:cNvPr>
          <p:cNvSpPr>
            <a:spLocks noGrp="1"/>
          </p:cNvSpPr>
          <p:nvPr>
            <p:ph type="body" sz="quarter" idx="20"/>
          </p:nvPr>
        </p:nvSpPr>
        <p:spPr>
          <a:xfrm>
            <a:off x="601663" y="3714550"/>
            <a:ext cx="5313262" cy="1963236"/>
          </a:xfrm>
        </p:spPr>
        <p:txBody>
          <a:bodyPr>
            <a:noAutofit/>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5A61EA1C-08BF-7630-17BF-249FC8056035}"/>
              </a:ext>
            </a:extLst>
          </p:cNvPr>
          <p:cNvSpPr>
            <a:spLocks noGrp="1"/>
          </p:cNvSpPr>
          <p:nvPr>
            <p:ph type="body" sz="quarter" idx="21"/>
          </p:nvPr>
        </p:nvSpPr>
        <p:spPr>
          <a:xfrm>
            <a:off x="6298016" y="3714550"/>
            <a:ext cx="5313262" cy="1963236"/>
          </a:xfrm>
        </p:spPr>
        <p:txBody>
          <a:bodyPr>
            <a:noAutofit/>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38665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Col Text + Images (Red)">
    <p:bg>
      <p:bgPr>
        <a:solidFill>
          <a:schemeClr val="accent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Picture Placeholder 16">
            <a:extLst>
              <a:ext uri="{FF2B5EF4-FFF2-40B4-BE49-F238E27FC236}">
                <a16:creationId xmlns:a16="http://schemas.microsoft.com/office/drawing/2014/main" id="{8CCE8023-09CC-D510-5C42-BB269099F60F}"/>
              </a:ext>
            </a:extLst>
          </p:cNvPr>
          <p:cNvSpPr>
            <a:spLocks noGrp="1"/>
          </p:cNvSpPr>
          <p:nvPr>
            <p:ph type="pic" sz="quarter" idx="19"/>
          </p:nvPr>
        </p:nvSpPr>
        <p:spPr>
          <a:xfrm>
            <a:off x="6298016" y="1363850"/>
            <a:ext cx="5313262"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3" name="Freeform 2">
            <a:extLst>
              <a:ext uri="{FF2B5EF4-FFF2-40B4-BE49-F238E27FC236}">
                <a16:creationId xmlns:a16="http://schemas.microsoft.com/office/drawing/2014/main" id="{C12A58DB-787A-7CC0-6F85-0CBB36D18F7F}"/>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4" name="Text Placeholder 6">
            <a:extLst>
              <a:ext uri="{FF2B5EF4-FFF2-40B4-BE49-F238E27FC236}">
                <a16:creationId xmlns:a16="http://schemas.microsoft.com/office/drawing/2014/main" id="{2AF5AF8A-73DB-89BE-3223-78BD6F308893}"/>
              </a:ext>
            </a:extLst>
          </p:cNvPr>
          <p:cNvSpPr>
            <a:spLocks noGrp="1"/>
          </p:cNvSpPr>
          <p:nvPr>
            <p:ph type="body" sz="quarter" idx="16"/>
          </p:nvPr>
        </p:nvSpPr>
        <p:spPr>
          <a:xfrm>
            <a:off x="601662" y="3243627"/>
            <a:ext cx="5313263" cy="357659"/>
          </a:xfrm>
        </p:spPr>
        <p:txBody>
          <a:bodyPr anchor="b">
            <a:noAutofit/>
          </a:bodyPr>
          <a:lstStyle>
            <a:lvl1pPr>
              <a:lnSpc>
                <a:spcPct val="80000"/>
              </a:lnSpc>
              <a:buClr>
                <a:schemeClr val="bg1"/>
              </a:buClr>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Text Placeholder 6">
            <a:extLst>
              <a:ext uri="{FF2B5EF4-FFF2-40B4-BE49-F238E27FC236}">
                <a16:creationId xmlns:a16="http://schemas.microsoft.com/office/drawing/2014/main" id="{EAB112DF-7AE3-B905-65F1-B8F3FE4740DF}"/>
              </a:ext>
            </a:extLst>
          </p:cNvPr>
          <p:cNvSpPr>
            <a:spLocks noGrp="1"/>
          </p:cNvSpPr>
          <p:nvPr>
            <p:ph type="body" sz="quarter" idx="17"/>
          </p:nvPr>
        </p:nvSpPr>
        <p:spPr>
          <a:xfrm>
            <a:off x="6298015" y="3243627"/>
            <a:ext cx="5313263" cy="357659"/>
          </a:xfrm>
        </p:spPr>
        <p:txBody>
          <a:bodyPr anchor="b">
            <a:noAutofit/>
          </a:bodyPr>
          <a:lstStyle>
            <a:lvl1pPr>
              <a:lnSpc>
                <a:spcPct val="80000"/>
              </a:lnSpc>
              <a:buClr>
                <a:schemeClr val="bg1"/>
              </a:buClr>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Text Placeholder 6">
            <a:extLst>
              <a:ext uri="{FF2B5EF4-FFF2-40B4-BE49-F238E27FC236}">
                <a16:creationId xmlns:a16="http://schemas.microsoft.com/office/drawing/2014/main" id="{9DD00EAB-5108-3681-CF25-A088CF197AA1}"/>
              </a:ext>
            </a:extLst>
          </p:cNvPr>
          <p:cNvSpPr>
            <a:spLocks noGrp="1"/>
          </p:cNvSpPr>
          <p:nvPr>
            <p:ph type="body" sz="quarter" idx="20"/>
          </p:nvPr>
        </p:nvSpPr>
        <p:spPr>
          <a:xfrm>
            <a:off x="601663" y="3714550"/>
            <a:ext cx="5313262" cy="1963236"/>
          </a:xfrm>
        </p:spPr>
        <p:txBody>
          <a:bodyPr>
            <a:noAutofit/>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8A16822E-95AD-F7F9-C50D-090CDEE88749}"/>
              </a:ext>
            </a:extLst>
          </p:cNvPr>
          <p:cNvSpPr>
            <a:spLocks noGrp="1"/>
          </p:cNvSpPr>
          <p:nvPr>
            <p:ph type="body" sz="quarter" idx="21"/>
          </p:nvPr>
        </p:nvSpPr>
        <p:spPr>
          <a:xfrm>
            <a:off x="6298016" y="3714550"/>
            <a:ext cx="5313262" cy="1963236"/>
          </a:xfrm>
        </p:spPr>
        <p:txBody>
          <a:bodyPr>
            <a:noAutofit/>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2201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 Text + Images (White)">
    <p:bg>
      <p:bgPr>
        <a:solidFill>
          <a:schemeClr val="bg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2" name="Text Placeholder 6">
            <a:extLst>
              <a:ext uri="{FF2B5EF4-FFF2-40B4-BE49-F238E27FC236}">
                <a16:creationId xmlns:a16="http://schemas.microsoft.com/office/drawing/2014/main" id="{48DEA081-7241-9A28-D67E-E57DEABAAB2A}"/>
              </a:ext>
            </a:extLst>
          </p:cNvPr>
          <p:cNvSpPr>
            <a:spLocks noGrp="1"/>
          </p:cNvSpPr>
          <p:nvPr>
            <p:ph type="body" sz="quarter" idx="21" hasCustomPrompt="1"/>
          </p:nvPr>
        </p:nvSpPr>
        <p:spPr>
          <a:xfrm>
            <a:off x="601662"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3" name="Picture Placeholder 16">
            <a:extLst>
              <a:ext uri="{FF2B5EF4-FFF2-40B4-BE49-F238E27FC236}">
                <a16:creationId xmlns:a16="http://schemas.microsoft.com/office/drawing/2014/main" id="{65835385-C754-2DED-0195-939B5824B21D}"/>
              </a:ext>
            </a:extLst>
          </p:cNvPr>
          <p:cNvSpPr>
            <a:spLocks noGrp="1"/>
          </p:cNvSpPr>
          <p:nvPr>
            <p:ph type="pic" sz="quarter" idx="22"/>
          </p:nvPr>
        </p:nvSpPr>
        <p:spPr>
          <a:xfrm>
            <a:off x="4389895"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5" name="Text Placeholder 6">
            <a:extLst>
              <a:ext uri="{FF2B5EF4-FFF2-40B4-BE49-F238E27FC236}">
                <a16:creationId xmlns:a16="http://schemas.microsoft.com/office/drawing/2014/main" id="{5061FB04-436B-E689-5F32-6AE8DE142891}"/>
              </a:ext>
            </a:extLst>
          </p:cNvPr>
          <p:cNvSpPr>
            <a:spLocks noGrp="1"/>
          </p:cNvSpPr>
          <p:nvPr>
            <p:ph type="body" sz="quarter" idx="24" hasCustomPrompt="1"/>
          </p:nvPr>
        </p:nvSpPr>
        <p:spPr>
          <a:xfrm>
            <a:off x="4389895"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6" name="Picture Placeholder 16">
            <a:extLst>
              <a:ext uri="{FF2B5EF4-FFF2-40B4-BE49-F238E27FC236}">
                <a16:creationId xmlns:a16="http://schemas.microsoft.com/office/drawing/2014/main" id="{C7F3255B-9152-4E8F-5A26-8041EDE7457E}"/>
              </a:ext>
            </a:extLst>
          </p:cNvPr>
          <p:cNvSpPr>
            <a:spLocks noGrp="1"/>
          </p:cNvSpPr>
          <p:nvPr>
            <p:ph type="pic" sz="quarter" idx="25"/>
          </p:nvPr>
        </p:nvSpPr>
        <p:spPr>
          <a:xfrm>
            <a:off x="8178130"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8" name="Text Placeholder 6">
            <a:extLst>
              <a:ext uri="{FF2B5EF4-FFF2-40B4-BE49-F238E27FC236}">
                <a16:creationId xmlns:a16="http://schemas.microsoft.com/office/drawing/2014/main" id="{5573FB5A-67B9-5793-31A2-C5B7AA0A2205}"/>
              </a:ext>
            </a:extLst>
          </p:cNvPr>
          <p:cNvSpPr>
            <a:spLocks noGrp="1"/>
          </p:cNvSpPr>
          <p:nvPr>
            <p:ph type="body" sz="quarter" idx="27" hasCustomPrompt="1"/>
          </p:nvPr>
        </p:nvSpPr>
        <p:spPr>
          <a:xfrm>
            <a:off x="8178130" y="3243627"/>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8" name="Text Placeholder 6">
            <a:extLst>
              <a:ext uri="{FF2B5EF4-FFF2-40B4-BE49-F238E27FC236}">
                <a16:creationId xmlns:a16="http://schemas.microsoft.com/office/drawing/2014/main" id="{98C660E6-2EF8-AAD7-860F-8816578EFCEB}"/>
              </a:ext>
            </a:extLst>
          </p:cNvPr>
          <p:cNvSpPr>
            <a:spLocks noGrp="1"/>
          </p:cNvSpPr>
          <p:nvPr>
            <p:ph type="body" sz="quarter" idx="20"/>
          </p:nvPr>
        </p:nvSpPr>
        <p:spPr>
          <a:xfrm>
            <a:off x="601663"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7CD6DB0-A18D-F1B2-1A30-5167ADE53CE2}"/>
              </a:ext>
            </a:extLst>
          </p:cNvPr>
          <p:cNvSpPr>
            <a:spLocks noGrp="1"/>
          </p:cNvSpPr>
          <p:nvPr>
            <p:ph type="body" sz="quarter" idx="28"/>
          </p:nvPr>
        </p:nvSpPr>
        <p:spPr>
          <a:xfrm>
            <a:off x="4389899"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379DAF15-72A8-3BA2-F543-6F2DF6248A2D}"/>
              </a:ext>
            </a:extLst>
          </p:cNvPr>
          <p:cNvSpPr>
            <a:spLocks noGrp="1"/>
          </p:cNvSpPr>
          <p:nvPr>
            <p:ph type="body" sz="quarter" idx="29"/>
          </p:nvPr>
        </p:nvSpPr>
        <p:spPr>
          <a:xfrm>
            <a:off x="8178134"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tx1"/>
                </a:solidFill>
                <a:latin typeface="+mn-lt"/>
              </a:defRPr>
            </a:lvl1pPr>
            <a:lvl2pPr marL="720000" indent="-284400">
              <a:buClr>
                <a:schemeClr val="accent1"/>
              </a:buClr>
              <a:buFont typeface="Courier New" panose="02070309020205020404" pitchFamily="49" charset="0"/>
              <a:buChar char="o"/>
              <a:tabLst/>
              <a:defRPr b="0">
                <a:solidFill>
                  <a:schemeClr val="tx1"/>
                </a:solidFill>
                <a:latin typeface="+mn-lt"/>
              </a:defRPr>
            </a:lvl2pPr>
            <a:lvl3pPr marL="1080000" indent="-284400">
              <a:buClr>
                <a:schemeClr val="accent1"/>
              </a:buClr>
              <a:buFont typeface="Wingdings" pitchFamily="2" charset="2"/>
              <a:buChar char="§"/>
              <a:tabLst/>
              <a:defRPr b="0">
                <a:solidFill>
                  <a:schemeClr val="tx1"/>
                </a:solidFill>
                <a:latin typeface="+mn-lt"/>
              </a:defRPr>
            </a:lvl3pPr>
            <a:lvl4pPr marL="1440000" indent="-284400">
              <a:buClr>
                <a:schemeClr val="accent1"/>
              </a:buClr>
              <a:buFont typeface="System Font Regular"/>
              <a:buChar char="—"/>
              <a:tabLst/>
              <a:defRPr b="0">
                <a:solidFill>
                  <a:schemeClr val="tx1"/>
                </a:solidFill>
                <a:latin typeface="+mn-lt"/>
              </a:defRPr>
            </a:lvl4pPr>
            <a:lvl5pPr marL="1800000" indent="-284400">
              <a:buClr>
                <a:schemeClr val="accent1"/>
              </a:buClr>
              <a:buFont typeface="Arial" panose="020B0604020202020204" pitchFamily="34" charset="0"/>
              <a:buChar char="•"/>
              <a:tabLst/>
              <a:defRPr b="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072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 Text + Char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3E53CB76-0F5F-D531-5A0E-01D6B3EDACB1}"/>
              </a:ext>
            </a:extLst>
          </p:cNvPr>
          <p:cNvSpPr>
            <a:spLocks noGrp="1"/>
          </p:cNvSpPr>
          <p:nvPr>
            <p:ph type="body" sz="quarter" idx="16"/>
          </p:nvPr>
        </p:nvSpPr>
        <p:spPr>
          <a:xfrm>
            <a:off x="601663" y="1354440"/>
            <a:ext cx="3034997" cy="4751084"/>
          </a:xfrm>
        </p:spPr>
        <p:txBody>
          <a:bodyPr>
            <a:noAutofit/>
          </a:bodyPr>
          <a:lstStyle>
            <a:lvl1pPr marL="1350" indent="0">
              <a:buClr>
                <a:schemeClr val="bg1"/>
              </a:buClr>
              <a:buFont typeface="Arial" panose="020B0604020202020204" pitchFamily="34" charset="0"/>
              <a:buNone/>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4111309" y="1354137"/>
            <a:ext cx="7486965" cy="4751387"/>
          </a:xfrm>
        </p:spPr>
        <p:txBody>
          <a:bodyPr anchor="ctr"/>
          <a:lstStyle>
            <a:lvl1pPr algn="ctr">
              <a:defRPr>
                <a:solidFill>
                  <a:schemeClr val="bg1"/>
                </a:solidFill>
              </a:defRPr>
            </a:lvl1pPr>
          </a:lstStyle>
          <a:p>
            <a:r>
              <a:rPr lang="en-US"/>
              <a:t>Click icon to add chart</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5" name="Rogers logo">
            <a:extLst>
              <a:ext uri="{FF2B5EF4-FFF2-40B4-BE49-F238E27FC236}">
                <a16:creationId xmlns:a16="http://schemas.microsoft.com/office/drawing/2014/main" id="{5CBCECB9-F4D2-B221-6B96-DEA5224E1952}"/>
              </a:ext>
              <a:ext uri="{C183D7F6-B498-43B3-948B-1728B52AA6E4}">
                <adec:decorative xmlns:adec="http://schemas.microsoft.com/office/drawing/2017/decorative" val="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3522307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Col Text + Images (Black)">
    <p:bg>
      <p:bgPr>
        <a:solidFill>
          <a:schemeClr val="tx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2" name="Text Placeholder 6">
            <a:extLst>
              <a:ext uri="{FF2B5EF4-FFF2-40B4-BE49-F238E27FC236}">
                <a16:creationId xmlns:a16="http://schemas.microsoft.com/office/drawing/2014/main" id="{48DEA081-7241-9A28-D67E-E57DEABAAB2A}"/>
              </a:ext>
            </a:extLst>
          </p:cNvPr>
          <p:cNvSpPr>
            <a:spLocks noGrp="1"/>
          </p:cNvSpPr>
          <p:nvPr>
            <p:ph type="body" sz="quarter" idx="21" hasCustomPrompt="1"/>
          </p:nvPr>
        </p:nvSpPr>
        <p:spPr>
          <a:xfrm>
            <a:off x="601662"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3" name="Picture Placeholder 16">
            <a:extLst>
              <a:ext uri="{FF2B5EF4-FFF2-40B4-BE49-F238E27FC236}">
                <a16:creationId xmlns:a16="http://schemas.microsoft.com/office/drawing/2014/main" id="{65835385-C754-2DED-0195-939B5824B21D}"/>
              </a:ext>
            </a:extLst>
          </p:cNvPr>
          <p:cNvSpPr>
            <a:spLocks noGrp="1"/>
          </p:cNvSpPr>
          <p:nvPr>
            <p:ph type="pic" sz="quarter" idx="22"/>
          </p:nvPr>
        </p:nvSpPr>
        <p:spPr>
          <a:xfrm>
            <a:off x="4389895"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5" name="Text Placeholder 6">
            <a:extLst>
              <a:ext uri="{FF2B5EF4-FFF2-40B4-BE49-F238E27FC236}">
                <a16:creationId xmlns:a16="http://schemas.microsoft.com/office/drawing/2014/main" id="{5061FB04-436B-E689-5F32-6AE8DE142891}"/>
              </a:ext>
            </a:extLst>
          </p:cNvPr>
          <p:cNvSpPr>
            <a:spLocks noGrp="1"/>
          </p:cNvSpPr>
          <p:nvPr>
            <p:ph type="body" sz="quarter" idx="24" hasCustomPrompt="1"/>
          </p:nvPr>
        </p:nvSpPr>
        <p:spPr>
          <a:xfrm>
            <a:off x="4389895"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6" name="Picture Placeholder 16">
            <a:extLst>
              <a:ext uri="{FF2B5EF4-FFF2-40B4-BE49-F238E27FC236}">
                <a16:creationId xmlns:a16="http://schemas.microsoft.com/office/drawing/2014/main" id="{C7F3255B-9152-4E8F-5A26-8041EDE7457E}"/>
              </a:ext>
            </a:extLst>
          </p:cNvPr>
          <p:cNvSpPr>
            <a:spLocks noGrp="1"/>
          </p:cNvSpPr>
          <p:nvPr>
            <p:ph type="pic" sz="quarter" idx="25"/>
          </p:nvPr>
        </p:nvSpPr>
        <p:spPr>
          <a:xfrm>
            <a:off x="8178130"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8" name="Text Placeholder 6">
            <a:extLst>
              <a:ext uri="{FF2B5EF4-FFF2-40B4-BE49-F238E27FC236}">
                <a16:creationId xmlns:a16="http://schemas.microsoft.com/office/drawing/2014/main" id="{5573FB5A-67B9-5793-31A2-C5B7AA0A2205}"/>
              </a:ext>
            </a:extLst>
          </p:cNvPr>
          <p:cNvSpPr>
            <a:spLocks noGrp="1"/>
          </p:cNvSpPr>
          <p:nvPr>
            <p:ph type="body" sz="quarter" idx="27" hasCustomPrompt="1"/>
          </p:nvPr>
        </p:nvSpPr>
        <p:spPr>
          <a:xfrm>
            <a:off x="8178130"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5" name="Slide Number Placeholder 5">
            <a:extLst>
              <a:ext uri="{FF2B5EF4-FFF2-40B4-BE49-F238E27FC236}">
                <a16:creationId xmlns:a16="http://schemas.microsoft.com/office/drawing/2014/main" id="{1B97266C-0601-330E-A6F7-4D7EDE15F48C}"/>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11" name="Text Placeholder 6">
            <a:extLst>
              <a:ext uri="{FF2B5EF4-FFF2-40B4-BE49-F238E27FC236}">
                <a16:creationId xmlns:a16="http://schemas.microsoft.com/office/drawing/2014/main" id="{1A643D06-7AB9-72DF-416B-79C9FC423378}"/>
              </a:ext>
            </a:extLst>
          </p:cNvPr>
          <p:cNvSpPr>
            <a:spLocks noGrp="1"/>
          </p:cNvSpPr>
          <p:nvPr>
            <p:ph type="body" sz="quarter" idx="20"/>
          </p:nvPr>
        </p:nvSpPr>
        <p:spPr>
          <a:xfrm>
            <a:off x="601663"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0EEEE551-458C-001C-0777-CB78466E972D}"/>
              </a:ext>
            </a:extLst>
          </p:cNvPr>
          <p:cNvSpPr>
            <a:spLocks noGrp="1"/>
          </p:cNvSpPr>
          <p:nvPr>
            <p:ph type="body" sz="quarter" idx="28"/>
          </p:nvPr>
        </p:nvSpPr>
        <p:spPr>
          <a:xfrm>
            <a:off x="4389899"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E9C40037-E5F7-3122-0687-6A27F37345F1}"/>
              </a:ext>
            </a:extLst>
          </p:cNvPr>
          <p:cNvSpPr>
            <a:spLocks noGrp="1"/>
          </p:cNvSpPr>
          <p:nvPr>
            <p:ph type="body" sz="quarter" idx="29"/>
          </p:nvPr>
        </p:nvSpPr>
        <p:spPr>
          <a:xfrm>
            <a:off x="8178134" y="3666508"/>
            <a:ext cx="3424661" cy="2146530"/>
          </a:xfrm>
        </p:spPr>
        <p:txBody>
          <a:bodyPr>
            <a:noAutofit/>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4010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Col Text + Images (Red)">
    <p:bg>
      <p:bgPr>
        <a:solidFill>
          <a:schemeClr val="accent1"/>
        </a:solidFill>
        <a:effectLst/>
      </p:bgPr>
    </p:bg>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A49802D5-CB10-D2B8-2F17-FAE237676C7B}"/>
              </a:ext>
            </a:extLst>
          </p:cNvPr>
          <p:cNvSpPr>
            <a:spLocks noGrp="1"/>
          </p:cNvSpPr>
          <p:nvPr>
            <p:ph type="pic" sz="quarter" idx="18"/>
          </p:nvPr>
        </p:nvSpPr>
        <p:spPr>
          <a:xfrm>
            <a:off x="601662"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2" name="Text Placeholder 6">
            <a:extLst>
              <a:ext uri="{FF2B5EF4-FFF2-40B4-BE49-F238E27FC236}">
                <a16:creationId xmlns:a16="http://schemas.microsoft.com/office/drawing/2014/main" id="{48DEA081-7241-9A28-D67E-E57DEABAAB2A}"/>
              </a:ext>
            </a:extLst>
          </p:cNvPr>
          <p:cNvSpPr>
            <a:spLocks noGrp="1"/>
          </p:cNvSpPr>
          <p:nvPr>
            <p:ph type="body" sz="quarter" idx="21" hasCustomPrompt="1"/>
          </p:nvPr>
        </p:nvSpPr>
        <p:spPr>
          <a:xfrm>
            <a:off x="601662"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3" name="Picture Placeholder 16">
            <a:extLst>
              <a:ext uri="{FF2B5EF4-FFF2-40B4-BE49-F238E27FC236}">
                <a16:creationId xmlns:a16="http://schemas.microsoft.com/office/drawing/2014/main" id="{65835385-C754-2DED-0195-939B5824B21D}"/>
              </a:ext>
            </a:extLst>
          </p:cNvPr>
          <p:cNvSpPr>
            <a:spLocks noGrp="1"/>
          </p:cNvSpPr>
          <p:nvPr>
            <p:ph type="pic" sz="quarter" idx="22"/>
          </p:nvPr>
        </p:nvSpPr>
        <p:spPr>
          <a:xfrm>
            <a:off x="4389895"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5" name="Text Placeholder 6">
            <a:extLst>
              <a:ext uri="{FF2B5EF4-FFF2-40B4-BE49-F238E27FC236}">
                <a16:creationId xmlns:a16="http://schemas.microsoft.com/office/drawing/2014/main" id="{5061FB04-436B-E689-5F32-6AE8DE142891}"/>
              </a:ext>
            </a:extLst>
          </p:cNvPr>
          <p:cNvSpPr>
            <a:spLocks noGrp="1"/>
          </p:cNvSpPr>
          <p:nvPr>
            <p:ph type="body" sz="quarter" idx="24" hasCustomPrompt="1"/>
          </p:nvPr>
        </p:nvSpPr>
        <p:spPr>
          <a:xfrm>
            <a:off x="4389895"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16" name="Picture Placeholder 16">
            <a:extLst>
              <a:ext uri="{FF2B5EF4-FFF2-40B4-BE49-F238E27FC236}">
                <a16:creationId xmlns:a16="http://schemas.microsoft.com/office/drawing/2014/main" id="{C7F3255B-9152-4E8F-5A26-8041EDE7457E}"/>
              </a:ext>
            </a:extLst>
          </p:cNvPr>
          <p:cNvSpPr>
            <a:spLocks noGrp="1"/>
          </p:cNvSpPr>
          <p:nvPr>
            <p:ph type="pic" sz="quarter" idx="25"/>
          </p:nvPr>
        </p:nvSpPr>
        <p:spPr>
          <a:xfrm>
            <a:off x="8178130" y="1363850"/>
            <a:ext cx="3424664" cy="1766513"/>
          </a:xfrm>
          <a:solidFill>
            <a:schemeClr val="bg1">
              <a:lumMod val="75000"/>
              <a:alpha val="50358"/>
            </a:schemeClr>
          </a:solidFill>
        </p:spPr>
        <p:txBody>
          <a:bodyPr anchor="ctr"/>
          <a:lstStyle>
            <a:lvl1pPr algn="ctr">
              <a:defRPr>
                <a:solidFill>
                  <a:schemeClr val="bg1"/>
                </a:solidFill>
              </a:defRPr>
            </a:lvl1pPr>
          </a:lstStyle>
          <a:p>
            <a:endParaRPr lang="en-US"/>
          </a:p>
        </p:txBody>
      </p:sp>
      <p:sp>
        <p:nvSpPr>
          <p:cNvPr id="18" name="Text Placeholder 6">
            <a:extLst>
              <a:ext uri="{FF2B5EF4-FFF2-40B4-BE49-F238E27FC236}">
                <a16:creationId xmlns:a16="http://schemas.microsoft.com/office/drawing/2014/main" id="{5573FB5A-67B9-5793-31A2-C5B7AA0A2205}"/>
              </a:ext>
            </a:extLst>
          </p:cNvPr>
          <p:cNvSpPr>
            <a:spLocks noGrp="1"/>
          </p:cNvSpPr>
          <p:nvPr>
            <p:ph type="body" sz="quarter" idx="27" hasCustomPrompt="1"/>
          </p:nvPr>
        </p:nvSpPr>
        <p:spPr>
          <a:xfrm>
            <a:off x="8178130" y="3243627"/>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Headline</a:t>
            </a:r>
          </a:p>
        </p:txBody>
      </p:sp>
      <p:sp>
        <p:nvSpPr>
          <p:cNvPr id="5" name="Freeform 4">
            <a:extLst>
              <a:ext uri="{FF2B5EF4-FFF2-40B4-BE49-F238E27FC236}">
                <a16:creationId xmlns:a16="http://schemas.microsoft.com/office/drawing/2014/main" id="{3C4D9E1C-03F6-6836-5FD6-DCF7ECAD9589}"/>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1" name="Text Placeholder 6">
            <a:extLst>
              <a:ext uri="{FF2B5EF4-FFF2-40B4-BE49-F238E27FC236}">
                <a16:creationId xmlns:a16="http://schemas.microsoft.com/office/drawing/2014/main" id="{BBCF4E77-23FD-7327-FB51-DA3C3002E74A}"/>
              </a:ext>
            </a:extLst>
          </p:cNvPr>
          <p:cNvSpPr>
            <a:spLocks noGrp="1"/>
          </p:cNvSpPr>
          <p:nvPr>
            <p:ph type="body" sz="quarter" idx="20"/>
          </p:nvPr>
        </p:nvSpPr>
        <p:spPr>
          <a:xfrm>
            <a:off x="601663" y="3666508"/>
            <a:ext cx="3424661" cy="2146530"/>
          </a:xfrm>
        </p:spPr>
        <p:txBody>
          <a:bodyPr>
            <a:noAutofit/>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304ABE9A-E208-7A8B-C775-B6490D0DD907}"/>
              </a:ext>
            </a:extLst>
          </p:cNvPr>
          <p:cNvSpPr>
            <a:spLocks noGrp="1"/>
          </p:cNvSpPr>
          <p:nvPr>
            <p:ph type="body" sz="quarter" idx="28"/>
          </p:nvPr>
        </p:nvSpPr>
        <p:spPr>
          <a:xfrm>
            <a:off x="4389899" y="3666508"/>
            <a:ext cx="3424661" cy="2146530"/>
          </a:xfrm>
        </p:spPr>
        <p:txBody>
          <a:bodyPr>
            <a:noAutofit/>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47B8A597-C951-8BEA-4A3B-8C271D59B98B}"/>
              </a:ext>
            </a:extLst>
          </p:cNvPr>
          <p:cNvSpPr>
            <a:spLocks noGrp="1"/>
          </p:cNvSpPr>
          <p:nvPr>
            <p:ph type="body" sz="quarter" idx="29"/>
          </p:nvPr>
        </p:nvSpPr>
        <p:spPr>
          <a:xfrm>
            <a:off x="8178134" y="3666508"/>
            <a:ext cx="3424661" cy="2146530"/>
          </a:xfrm>
        </p:spPr>
        <p:txBody>
          <a:bodyPr>
            <a:noAutofit/>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18565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Bleed Image + L Title (Black)">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A1B30EB-7400-3CB1-B7E4-DF452D0194FD}"/>
              </a:ext>
            </a:extLst>
          </p:cNvPr>
          <p:cNvSpPr>
            <a:spLocks noGrp="1"/>
          </p:cNvSpPr>
          <p:nvPr>
            <p:ph type="pic" sz="quarter" idx="14"/>
          </p:nvPr>
        </p:nvSpPr>
        <p:spPr>
          <a:xfrm>
            <a:off x="0" y="-3"/>
            <a:ext cx="12192000" cy="6858002"/>
          </a:xfrm>
          <a:custGeom>
            <a:avLst/>
            <a:gdLst>
              <a:gd name="connsiteX0" fmla="*/ 11796108 w 12192000"/>
              <a:gd name="connsiteY0" fmla="*/ 6375525 h 6858002"/>
              <a:gd name="connsiteX1" fmla="*/ 11796138 w 12192000"/>
              <a:gd name="connsiteY1" fmla="*/ 6375587 h 6858002"/>
              <a:gd name="connsiteX2" fmla="*/ 11796108 w 12192000"/>
              <a:gd name="connsiteY2" fmla="*/ 6375640 h 6858002"/>
              <a:gd name="connsiteX3" fmla="*/ 11586067 w 12192000"/>
              <a:gd name="connsiteY3" fmla="*/ 6351814 h 6858002"/>
              <a:gd name="connsiteX4" fmla="*/ 11613664 w 12192000"/>
              <a:gd name="connsiteY4" fmla="*/ 6351814 h 6858002"/>
              <a:gd name="connsiteX5" fmla="*/ 11656431 w 12192000"/>
              <a:gd name="connsiteY5" fmla="*/ 6387095 h 6858002"/>
              <a:gd name="connsiteX6" fmla="*/ 11613664 w 12192000"/>
              <a:gd name="connsiteY6" fmla="*/ 6423063 h 6858002"/>
              <a:gd name="connsiteX7" fmla="*/ 11613664 w 12192000"/>
              <a:gd name="connsiteY7" fmla="*/ 6423006 h 6858002"/>
              <a:gd name="connsiteX8" fmla="*/ 11586067 w 12192000"/>
              <a:gd name="connsiteY8" fmla="*/ 6423006 h 6858002"/>
              <a:gd name="connsiteX9" fmla="*/ 10671749 w 12192000"/>
              <a:gd name="connsiteY9" fmla="*/ 6351814 h 6858002"/>
              <a:gd name="connsiteX10" fmla="*/ 10699346 w 12192000"/>
              <a:gd name="connsiteY10" fmla="*/ 6351814 h 6858002"/>
              <a:gd name="connsiteX11" fmla="*/ 10742112 w 12192000"/>
              <a:gd name="connsiteY11" fmla="*/ 6387095 h 6858002"/>
              <a:gd name="connsiteX12" fmla="*/ 10699346 w 12192000"/>
              <a:gd name="connsiteY12" fmla="*/ 6423063 h 6858002"/>
              <a:gd name="connsiteX13" fmla="*/ 10699346 w 12192000"/>
              <a:gd name="connsiteY13" fmla="*/ 6423006 h 6858002"/>
              <a:gd name="connsiteX14" fmla="*/ 10671749 w 12192000"/>
              <a:gd name="connsiteY14" fmla="*/ 6423006 h 6858002"/>
              <a:gd name="connsiteX15" fmla="*/ 10933832 w 12192000"/>
              <a:gd name="connsiteY15" fmla="*/ 6350039 h 6858002"/>
              <a:gd name="connsiteX16" fmla="*/ 10997836 w 12192000"/>
              <a:gd name="connsiteY16" fmla="*/ 6431940 h 6858002"/>
              <a:gd name="connsiteX17" fmla="*/ 10933832 w 12192000"/>
              <a:gd name="connsiteY17" fmla="*/ 6513498 h 6858002"/>
              <a:gd name="connsiteX18" fmla="*/ 10869770 w 12192000"/>
              <a:gd name="connsiteY18" fmla="*/ 6431940 h 6858002"/>
              <a:gd name="connsiteX19" fmla="*/ 10933832 w 12192000"/>
              <a:gd name="connsiteY19" fmla="*/ 6350039 h 6858002"/>
              <a:gd name="connsiteX20" fmla="*/ 11544934 w 12192000"/>
              <a:gd name="connsiteY20" fmla="*/ 6317965 h 6858002"/>
              <a:gd name="connsiteX21" fmla="*/ 11544934 w 12192000"/>
              <a:gd name="connsiteY21" fmla="*/ 6545457 h 6858002"/>
              <a:gd name="connsiteX22" fmla="*/ 11586125 w 12192000"/>
              <a:gd name="connsiteY22" fmla="*/ 6545457 h 6858002"/>
              <a:gd name="connsiteX23" fmla="*/ 11586125 w 12192000"/>
              <a:gd name="connsiteY23" fmla="*/ 6456854 h 6858002"/>
              <a:gd name="connsiteX24" fmla="*/ 11600945 w 12192000"/>
              <a:gd name="connsiteY24" fmla="*/ 6456854 h 6858002"/>
              <a:gd name="connsiteX25" fmla="*/ 11641028 w 12192000"/>
              <a:gd name="connsiteY25" fmla="*/ 6487954 h 6858002"/>
              <a:gd name="connsiteX26" fmla="*/ 11674168 w 12192000"/>
              <a:gd name="connsiteY26" fmla="*/ 6545457 h 6858002"/>
              <a:gd name="connsiteX27" fmla="*/ 11721602 w 12192000"/>
              <a:gd name="connsiteY27" fmla="*/ 6545457 h 6858002"/>
              <a:gd name="connsiteX28" fmla="*/ 11683269 w 12192000"/>
              <a:gd name="connsiteY28" fmla="*/ 6479076 h 6858002"/>
              <a:gd name="connsiteX29" fmla="*/ 11656431 w 12192000"/>
              <a:gd name="connsiteY29" fmla="*/ 6451127 h 6858002"/>
              <a:gd name="connsiteX30" fmla="*/ 11656431 w 12192000"/>
              <a:gd name="connsiteY30" fmla="*/ 6449695 h 6858002"/>
              <a:gd name="connsiteX31" fmla="*/ 11698789 w 12192000"/>
              <a:gd name="connsiteY31" fmla="*/ 6387324 h 6858002"/>
              <a:gd name="connsiteX32" fmla="*/ 11614831 w 12192000"/>
              <a:gd name="connsiteY32" fmla="*/ 6317965 h 6858002"/>
              <a:gd name="connsiteX33" fmla="*/ 11544992 w 12192000"/>
              <a:gd name="connsiteY33" fmla="*/ 6317965 h 6858002"/>
              <a:gd name="connsiteX34" fmla="*/ 11342420 w 12192000"/>
              <a:gd name="connsiteY34" fmla="*/ 6317965 h 6858002"/>
              <a:gd name="connsiteX35" fmla="*/ 11342420 w 12192000"/>
              <a:gd name="connsiteY35" fmla="*/ 6545513 h 6858002"/>
              <a:gd name="connsiteX36" fmla="*/ 11485481 w 12192000"/>
              <a:gd name="connsiteY36" fmla="*/ 6545513 h 6858002"/>
              <a:gd name="connsiteX37" fmla="*/ 11485481 w 12192000"/>
              <a:gd name="connsiteY37" fmla="*/ 6511664 h 6858002"/>
              <a:gd name="connsiteX38" fmla="*/ 11384603 w 12192000"/>
              <a:gd name="connsiteY38" fmla="*/ 6511664 h 6858002"/>
              <a:gd name="connsiteX39" fmla="*/ 11384603 w 12192000"/>
              <a:gd name="connsiteY39" fmla="*/ 6446430 h 6858002"/>
              <a:gd name="connsiteX40" fmla="*/ 11473520 w 12192000"/>
              <a:gd name="connsiteY40" fmla="*/ 6446430 h 6858002"/>
              <a:gd name="connsiteX41" fmla="*/ 11473520 w 12192000"/>
              <a:gd name="connsiteY41" fmla="*/ 6412581 h 6858002"/>
              <a:gd name="connsiteX42" fmla="*/ 11384603 w 12192000"/>
              <a:gd name="connsiteY42" fmla="*/ 6412581 h 6858002"/>
              <a:gd name="connsiteX43" fmla="*/ 11384603 w 12192000"/>
              <a:gd name="connsiteY43" fmla="*/ 6351814 h 6858002"/>
              <a:gd name="connsiteX44" fmla="*/ 11473870 w 12192000"/>
              <a:gd name="connsiteY44" fmla="*/ 6351814 h 6858002"/>
              <a:gd name="connsiteX45" fmla="*/ 11485131 w 12192000"/>
              <a:gd name="connsiteY45" fmla="*/ 6317965 h 6858002"/>
              <a:gd name="connsiteX46" fmla="*/ 10630557 w 12192000"/>
              <a:gd name="connsiteY46" fmla="*/ 6317965 h 6858002"/>
              <a:gd name="connsiteX47" fmla="*/ 10630557 w 12192000"/>
              <a:gd name="connsiteY47" fmla="*/ 6545457 h 6858002"/>
              <a:gd name="connsiteX48" fmla="*/ 10671749 w 12192000"/>
              <a:gd name="connsiteY48" fmla="*/ 6545457 h 6858002"/>
              <a:gd name="connsiteX49" fmla="*/ 10671749 w 12192000"/>
              <a:gd name="connsiteY49" fmla="*/ 6456854 h 6858002"/>
              <a:gd name="connsiteX50" fmla="*/ 10686568 w 12192000"/>
              <a:gd name="connsiteY50" fmla="*/ 6456854 h 6858002"/>
              <a:gd name="connsiteX51" fmla="*/ 10726593 w 12192000"/>
              <a:gd name="connsiteY51" fmla="*/ 6487954 h 6858002"/>
              <a:gd name="connsiteX52" fmla="*/ 10759675 w 12192000"/>
              <a:gd name="connsiteY52" fmla="*/ 6545457 h 6858002"/>
              <a:gd name="connsiteX53" fmla="*/ 10807109 w 12192000"/>
              <a:gd name="connsiteY53" fmla="*/ 6545457 h 6858002"/>
              <a:gd name="connsiteX54" fmla="*/ 10768776 w 12192000"/>
              <a:gd name="connsiteY54" fmla="*/ 6479076 h 6858002"/>
              <a:gd name="connsiteX55" fmla="*/ 10741937 w 12192000"/>
              <a:gd name="connsiteY55" fmla="*/ 6451127 h 6858002"/>
              <a:gd name="connsiteX56" fmla="*/ 10741937 w 12192000"/>
              <a:gd name="connsiteY56" fmla="*/ 6449695 h 6858002"/>
              <a:gd name="connsiteX57" fmla="*/ 10784296 w 12192000"/>
              <a:gd name="connsiteY57" fmla="*/ 6387324 h 6858002"/>
              <a:gd name="connsiteX58" fmla="*/ 10700337 w 12192000"/>
              <a:gd name="connsiteY58" fmla="*/ 6317965 h 6858002"/>
              <a:gd name="connsiteX59" fmla="*/ 11198601 w 12192000"/>
              <a:gd name="connsiteY59" fmla="*/ 6315102 h 6858002"/>
              <a:gd name="connsiteX60" fmla="*/ 11082728 w 12192000"/>
              <a:gd name="connsiteY60" fmla="*/ 6435033 h 6858002"/>
              <a:gd name="connsiteX61" fmla="*/ 11197083 w 12192000"/>
              <a:gd name="connsiteY61" fmla="*/ 6548377 h 6858002"/>
              <a:gd name="connsiteX62" fmla="*/ 11275615 w 12192000"/>
              <a:gd name="connsiteY62" fmla="*/ 6530050 h 6858002"/>
              <a:gd name="connsiteX63" fmla="*/ 11275615 w 12192000"/>
              <a:gd name="connsiteY63" fmla="*/ 6422662 h 6858002"/>
              <a:gd name="connsiteX64" fmla="*/ 11209453 w 12192000"/>
              <a:gd name="connsiteY64" fmla="*/ 6422662 h 6858002"/>
              <a:gd name="connsiteX65" fmla="*/ 11209453 w 12192000"/>
              <a:gd name="connsiteY65" fmla="*/ 6422719 h 6858002"/>
              <a:gd name="connsiteX66" fmla="*/ 11198542 w 12192000"/>
              <a:gd name="connsiteY66" fmla="*/ 6455594 h 6858002"/>
              <a:gd name="connsiteX67" fmla="*/ 11233899 w 12192000"/>
              <a:gd name="connsiteY67" fmla="*/ 6455594 h 6858002"/>
              <a:gd name="connsiteX68" fmla="*/ 11233899 w 12192000"/>
              <a:gd name="connsiteY68" fmla="*/ 6506568 h 6858002"/>
              <a:gd name="connsiteX69" fmla="*/ 11200234 w 12192000"/>
              <a:gd name="connsiteY69" fmla="*/ 6513498 h 6858002"/>
              <a:gd name="connsiteX70" fmla="*/ 11126895 w 12192000"/>
              <a:gd name="connsiteY70" fmla="*/ 6432284 h 6858002"/>
              <a:gd name="connsiteX71" fmla="*/ 11201693 w 12192000"/>
              <a:gd name="connsiteY71" fmla="*/ 6350039 h 6858002"/>
              <a:gd name="connsiteX72" fmla="*/ 11254203 w 12192000"/>
              <a:gd name="connsiteY72" fmla="*/ 6365389 h 6858002"/>
              <a:gd name="connsiteX73" fmla="*/ 11265814 w 12192000"/>
              <a:gd name="connsiteY73" fmla="*/ 6330451 h 6858002"/>
              <a:gd name="connsiteX74" fmla="*/ 11198601 w 12192000"/>
              <a:gd name="connsiteY74" fmla="*/ 6315102 h 6858002"/>
              <a:gd name="connsiteX75" fmla="*/ 10933832 w 12192000"/>
              <a:gd name="connsiteY75" fmla="*/ 6315102 h 6858002"/>
              <a:gd name="connsiteX76" fmla="*/ 10825603 w 12192000"/>
              <a:gd name="connsiteY76" fmla="*/ 6431940 h 6858002"/>
              <a:gd name="connsiteX77" fmla="*/ 10933832 w 12192000"/>
              <a:gd name="connsiteY77" fmla="*/ 6548435 h 6858002"/>
              <a:gd name="connsiteX78" fmla="*/ 11042062 w 12192000"/>
              <a:gd name="connsiteY78" fmla="*/ 6431940 h 6858002"/>
              <a:gd name="connsiteX79" fmla="*/ 10933832 w 12192000"/>
              <a:gd name="connsiteY79" fmla="*/ 6315102 h 6858002"/>
              <a:gd name="connsiteX80" fmla="*/ 11829014 w 12192000"/>
              <a:gd name="connsiteY80" fmla="*/ 6315044 h 6858002"/>
              <a:gd name="connsiteX81" fmla="*/ 11751124 w 12192000"/>
              <a:gd name="connsiteY81" fmla="*/ 6377874 h 6858002"/>
              <a:gd name="connsiteX82" fmla="*/ 11801709 w 12192000"/>
              <a:gd name="connsiteY82" fmla="*/ 6440474 h 6858002"/>
              <a:gd name="connsiteX83" fmla="*/ 11818337 w 12192000"/>
              <a:gd name="connsiteY83" fmla="*/ 6449180 h 6858002"/>
              <a:gd name="connsiteX84" fmla="*/ 11851361 w 12192000"/>
              <a:gd name="connsiteY84" fmla="*/ 6484231 h 6858002"/>
              <a:gd name="connsiteX85" fmla="*/ 11812678 w 12192000"/>
              <a:gd name="connsiteY85" fmla="*/ 6513211 h 6858002"/>
              <a:gd name="connsiteX86" fmla="*/ 11756200 w 12192000"/>
              <a:gd name="connsiteY86" fmla="*/ 6499523 h 6858002"/>
              <a:gd name="connsiteX87" fmla="*/ 11744998 w 12192000"/>
              <a:gd name="connsiteY87" fmla="*/ 6533142 h 6858002"/>
              <a:gd name="connsiteX88" fmla="*/ 11813436 w 12192000"/>
              <a:gd name="connsiteY88" fmla="*/ 6548263 h 6858002"/>
              <a:gd name="connsiteX89" fmla="*/ 11896403 w 12192000"/>
              <a:gd name="connsiteY89" fmla="*/ 6480565 h 6858002"/>
              <a:gd name="connsiteX90" fmla="*/ 11843834 w 12192000"/>
              <a:gd name="connsiteY90" fmla="*/ 6416648 h 6858002"/>
              <a:gd name="connsiteX91" fmla="*/ 11828431 w 12192000"/>
              <a:gd name="connsiteY91" fmla="*/ 6408572 h 6858002"/>
              <a:gd name="connsiteX92" fmla="*/ 11805443 w 12192000"/>
              <a:gd name="connsiteY92" fmla="*/ 6394497 h 6858002"/>
              <a:gd name="connsiteX93" fmla="*/ 11796138 w 12192000"/>
              <a:gd name="connsiteY93" fmla="*/ 6375587 h 6858002"/>
              <a:gd name="connsiteX94" fmla="*/ 11807230 w 12192000"/>
              <a:gd name="connsiteY94" fmla="*/ 6356038 h 6858002"/>
              <a:gd name="connsiteX95" fmla="*/ 11832924 w 12192000"/>
              <a:gd name="connsiteY95" fmla="*/ 6349924 h 6858002"/>
              <a:gd name="connsiteX96" fmla="*/ 11883158 w 12192000"/>
              <a:gd name="connsiteY96" fmla="*/ 6359890 h 6858002"/>
              <a:gd name="connsiteX97" fmla="*/ 11883158 w 12192000"/>
              <a:gd name="connsiteY97" fmla="*/ 6321860 h 6858002"/>
              <a:gd name="connsiteX98" fmla="*/ 11829014 w 12192000"/>
              <a:gd name="connsiteY98" fmla="*/ 6315044 h 6858002"/>
              <a:gd name="connsiteX99" fmla="*/ 10944223 w 12192000"/>
              <a:gd name="connsiteY99" fmla="*/ 991275 h 6858002"/>
              <a:gd name="connsiteX100" fmla="*/ 10877100 w 12192000"/>
              <a:gd name="connsiteY100" fmla="*/ 1206040 h 6858002"/>
              <a:gd name="connsiteX101" fmla="*/ 11302275 w 12192000"/>
              <a:gd name="connsiteY101" fmla="*/ 1536456 h 6858002"/>
              <a:gd name="connsiteX102" fmla="*/ 11681604 w 12192000"/>
              <a:gd name="connsiteY102" fmla="*/ 1396440 h 6858002"/>
              <a:gd name="connsiteX103" fmla="*/ 11501899 w 12192000"/>
              <a:gd name="connsiteY103" fmla="*/ 1424517 h 6858002"/>
              <a:gd name="connsiteX104" fmla="*/ 10944223 w 12192000"/>
              <a:gd name="connsiteY104" fmla="*/ 991275 h 6858002"/>
              <a:gd name="connsiteX105" fmla="*/ 11747184 w 12192000"/>
              <a:gd name="connsiteY105" fmla="*/ 570722 h 6858002"/>
              <a:gd name="connsiteX106" fmla="*/ 11775261 w 12192000"/>
              <a:gd name="connsiteY106" fmla="*/ 750418 h 6858002"/>
              <a:gd name="connsiteX107" fmla="*/ 11775270 w 12192000"/>
              <a:gd name="connsiteY107" fmla="*/ 750418 h 6858002"/>
              <a:gd name="connsiteX108" fmla="*/ 11341955 w 12192000"/>
              <a:gd name="connsiteY108" fmla="*/ 1308094 h 6858002"/>
              <a:gd name="connsiteX109" fmla="*/ 11556784 w 12192000"/>
              <a:gd name="connsiteY109" fmla="*/ 1375281 h 6858002"/>
              <a:gd name="connsiteX110" fmla="*/ 11887200 w 12192000"/>
              <a:gd name="connsiteY110" fmla="*/ 950116 h 6858002"/>
              <a:gd name="connsiteX111" fmla="*/ 11747184 w 12192000"/>
              <a:gd name="connsiteY111" fmla="*/ 570722 h 6858002"/>
              <a:gd name="connsiteX112" fmla="*/ 11046286 w 12192000"/>
              <a:gd name="connsiteY112" fmla="*/ 526356 h 6858002"/>
              <a:gd name="connsiteX113" fmla="*/ 10715870 w 12192000"/>
              <a:gd name="connsiteY113" fmla="*/ 951595 h 6858002"/>
              <a:gd name="connsiteX114" fmla="*/ 10855886 w 12192000"/>
              <a:gd name="connsiteY114" fmla="*/ 1330851 h 6858002"/>
              <a:gd name="connsiteX115" fmla="*/ 10827800 w 12192000"/>
              <a:gd name="connsiteY115" fmla="*/ 1151164 h 6858002"/>
              <a:gd name="connsiteX116" fmla="*/ 11261051 w 12192000"/>
              <a:gd name="connsiteY116" fmla="*/ 593544 h 6858002"/>
              <a:gd name="connsiteX117" fmla="*/ 11046286 w 12192000"/>
              <a:gd name="connsiteY117" fmla="*/ 526356 h 6858002"/>
              <a:gd name="connsiteX118" fmla="*/ 11300795 w 12192000"/>
              <a:gd name="connsiteY118" fmla="*/ 365126 h 6858002"/>
              <a:gd name="connsiteX119" fmla="*/ 10921402 w 12192000"/>
              <a:gd name="connsiteY119" fmla="*/ 505206 h 6858002"/>
              <a:gd name="connsiteX120" fmla="*/ 11101162 w 12192000"/>
              <a:gd name="connsiteY120" fmla="*/ 477056 h 6858002"/>
              <a:gd name="connsiteX121" fmla="*/ 11658838 w 12192000"/>
              <a:gd name="connsiteY121" fmla="*/ 910371 h 6858002"/>
              <a:gd name="connsiteX122" fmla="*/ 11658847 w 12192000"/>
              <a:gd name="connsiteY122" fmla="*/ 910371 h 6858002"/>
              <a:gd name="connsiteX123" fmla="*/ 11725961 w 12192000"/>
              <a:gd name="connsiteY123" fmla="*/ 695542 h 6858002"/>
              <a:gd name="connsiteX124" fmla="*/ 11300795 w 12192000"/>
              <a:gd name="connsiteY124" fmla="*/ 365126 h 6858002"/>
              <a:gd name="connsiteX125" fmla="*/ 4524293 w 12192000"/>
              <a:gd name="connsiteY125" fmla="*/ 0 h 6858002"/>
              <a:gd name="connsiteX126" fmla="*/ 12192000 w 12192000"/>
              <a:gd name="connsiteY126" fmla="*/ 0 h 6858002"/>
              <a:gd name="connsiteX127" fmla="*/ 12192000 w 12192000"/>
              <a:gd name="connsiteY127" fmla="*/ 6858002 h 6858002"/>
              <a:gd name="connsiteX128" fmla="*/ 0 w 12192000"/>
              <a:gd name="connsiteY128" fmla="*/ 6858002 h 6858002"/>
              <a:gd name="connsiteX129" fmla="*/ 0 w 12192000"/>
              <a:gd name="connsiteY129" fmla="*/ 6067647 h 6858002"/>
              <a:gd name="connsiteX130" fmla="*/ 4524293 w 12192000"/>
              <a:gd name="connsiteY130" fmla="*/ 6067647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2192000" h="6858002">
                <a:moveTo>
                  <a:pt x="11796108" y="6375525"/>
                </a:moveTo>
                <a:lnTo>
                  <a:pt x="11796138" y="6375587"/>
                </a:lnTo>
                <a:lnTo>
                  <a:pt x="11796108" y="6375640"/>
                </a:lnTo>
                <a:close/>
                <a:moveTo>
                  <a:pt x="11586067" y="6351814"/>
                </a:moveTo>
                <a:lnTo>
                  <a:pt x="11613664" y="6351814"/>
                </a:lnTo>
                <a:cubicBezTo>
                  <a:pt x="11650071" y="6351814"/>
                  <a:pt x="11656431" y="6375010"/>
                  <a:pt x="11656431" y="6387095"/>
                </a:cubicBezTo>
                <a:cubicBezTo>
                  <a:pt x="11656431" y="6401299"/>
                  <a:pt x="11649138" y="6423063"/>
                  <a:pt x="11613664" y="6423063"/>
                </a:cubicBezTo>
                <a:lnTo>
                  <a:pt x="11613664" y="6423006"/>
                </a:lnTo>
                <a:lnTo>
                  <a:pt x="11586067" y="6423006"/>
                </a:lnTo>
                <a:close/>
                <a:moveTo>
                  <a:pt x="10671749" y="6351814"/>
                </a:moveTo>
                <a:lnTo>
                  <a:pt x="10699346" y="6351814"/>
                </a:lnTo>
                <a:cubicBezTo>
                  <a:pt x="10735753" y="6351814"/>
                  <a:pt x="10742112" y="6375010"/>
                  <a:pt x="10742112" y="6387095"/>
                </a:cubicBezTo>
                <a:cubicBezTo>
                  <a:pt x="10742112" y="6401299"/>
                  <a:pt x="10734819" y="6423063"/>
                  <a:pt x="10699346" y="6423063"/>
                </a:cubicBezTo>
                <a:lnTo>
                  <a:pt x="10699346" y="6423006"/>
                </a:lnTo>
                <a:lnTo>
                  <a:pt x="10671749" y="6423006"/>
                </a:lnTo>
                <a:close/>
                <a:moveTo>
                  <a:pt x="10933832" y="6350039"/>
                </a:moveTo>
                <a:cubicBezTo>
                  <a:pt x="10976948" y="6350039"/>
                  <a:pt x="10997836" y="6381482"/>
                  <a:pt x="10997836" y="6431940"/>
                </a:cubicBezTo>
                <a:cubicBezTo>
                  <a:pt x="10997836" y="6483429"/>
                  <a:pt x="10975957" y="6513498"/>
                  <a:pt x="10933832" y="6513498"/>
                </a:cubicBezTo>
                <a:cubicBezTo>
                  <a:pt x="10891707" y="6513498"/>
                  <a:pt x="10869770" y="6483773"/>
                  <a:pt x="10869770" y="6431940"/>
                </a:cubicBezTo>
                <a:cubicBezTo>
                  <a:pt x="10869770" y="6380108"/>
                  <a:pt x="10890716" y="6350039"/>
                  <a:pt x="10933832" y="6350039"/>
                </a:cubicBezTo>
                <a:close/>
                <a:moveTo>
                  <a:pt x="11544934" y="6317965"/>
                </a:moveTo>
                <a:lnTo>
                  <a:pt x="11544934" y="6545457"/>
                </a:lnTo>
                <a:lnTo>
                  <a:pt x="11586125" y="6545457"/>
                </a:lnTo>
                <a:lnTo>
                  <a:pt x="11586125" y="6456854"/>
                </a:lnTo>
                <a:lnTo>
                  <a:pt x="11600945" y="6456854"/>
                </a:lnTo>
                <a:cubicBezTo>
                  <a:pt x="11622299" y="6456854"/>
                  <a:pt x="11627725" y="6464471"/>
                  <a:pt x="11641028" y="6487954"/>
                </a:cubicBezTo>
                <a:lnTo>
                  <a:pt x="11674168" y="6545457"/>
                </a:lnTo>
                <a:lnTo>
                  <a:pt x="11721602" y="6545457"/>
                </a:lnTo>
                <a:lnTo>
                  <a:pt x="11683269" y="6479076"/>
                </a:lnTo>
                <a:cubicBezTo>
                  <a:pt x="11670667" y="6456912"/>
                  <a:pt x="11660981" y="6452387"/>
                  <a:pt x="11656431" y="6451127"/>
                </a:cubicBezTo>
                <a:lnTo>
                  <a:pt x="11656431" y="6449695"/>
                </a:lnTo>
                <a:cubicBezTo>
                  <a:pt x="11665882" y="6446201"/>
                  <a:pt x="11698789" y="6429935"/>
                  <a:pt x="11698789" y="6387324"/>
                </a:cubicBezTo>
                <a:cubicBezTo>
                  <a:pt x="11698789" y="6356968"/>
                  <a:pt x="11678835" y="6317965"/>
                  <a:pt x="11614831" y="6317965"/>
                </a:cubicBezTo>
                <a:lnTo>
                  <a:pt x="11544992" y="6317965"/>
                </a:lnTo>
                <a:close/>
                <a:moveTo>
                  <a:pt x="11342420" y="6317965"/>
                </a:moveTo>
                <a:lnTo>
                  <a:pt x="11342420" y="6545513"/>
                </a:lnTo>
                <a:lnTo>
                  <a:pt x="11485481" y="6545513"/>
                </a:lnTo>
                <a:lnTo>
                  <a:pt x="11485481" y="6511664"/>
                </a:lnTo>
                <a:lnTo>
                  <a:pt x="11384603" y="6511664"/>
                </a:lnTo>
                <a:lnTo>
                  <a:pt x="11384603" y="6446430"/>
                </a:lnTo>
                <a:lnTo>
                  <a:pt x="11473520" y="6446430"/>
                </a:lnTo>
                <a:lnTo>
                  <a:pt x="11473520" y="6412581"/>
                </a:lnTo>
                <a:lnTo>
                  <a:pt x="11384603" y="6412581"/>
                </a:lnTo>
                <a:lnTo>
                  <a:pt x="11384603" y="6351814"/>
                </a:lnTo>
                <a:lnTo>
                  <a:pt x="11473870" y="6351814"/>
                </a:lnTo>
                <a:lnTo>
                  <a:pt x="11485131" y="6317965"/>
                </a:lnTo>
                <a:close/>
                <a:moveTo>
                  <a:pt x="10630557" y="6317965"/>
                </a:moveTo>
                <a:lnTo>
                  <a:pt x="10630557" y="6545457"/>
                </a:lnTo>
                <a:lnTo>
                  <a:pt x="10671749" y="6545457"/>
                </a:lnTo>
                <a:lnTo>
                  <a:pt x="10671749" y="6456854"/>
                </a:lnTo>
                <a:lnTo>
                  <a:pt x="10686568" y="6456854"/>
                </a:lnTo>
                <a:cubicBezTo>
                  <a:pt x="10707864" y="6456854"/>
                  <a:pt x="10713290" y="6464471"/>
                  <a:pt x="10726593" y="6487954"/>
                </a:cubicBezTo>
                <a:lnTo>
                  <a:pt x="10759675" y="6545457"/>
                </a:lnTo>
                <a:lnTo>
                  <a:pt x="10807109" y="6545457"/>
                </a:lnTo>
                <a:lnTo>
                  <a:pt x="10768776" y="6479076"/>
                </a:lnTo>
                <a:cubicBezTo>
                  <a:pt x="10756174" y="6456912"/>
                  <a:pt x="10746488" y="6452387"/>
                  <a:pt x="10741937" y="6451127"/>
                </a:cubicBezTo>
                <a:lnTo>
                  <a:pt x="10741937" y="6449695"/>
                </a:lnTo>
                <a:cubicBezTo>
                  <a:pt x="10751447" y="6446201"/>
                  <a:pt x="10784296" y="6429935"/>
                  <a:pt x="10784296" y="6387324"/>
                </a:cubicBezTo>
                <a:cubicBezTo>
                  <a:pt x="10784296" y="6356968"/>
                  <a:pt x="10764342" y="6317965"/>
                  <a:pt x="10700337" y="6317965"/>
                </a:cubicBezTo>
                <a:close/>
                <a:moveTo>
                  <a:pt x="11198601" y="6315102"/>
                </a:moveTo>
                <a:cubicBezTo>
                  <a:pt x="11127770" y="6315102"/>
                  <a:pt x="11082728" y="6365904"/>
                  <a:pt x="11082728" y="6435033"/>
                </a:cubicBezTo>
                <a:cubicBezTo>
                  <a:pt x="11082728" y="6500325"/>
                  <a:pt x="11122578" y="6548377"/>
                  <a:pt x="11197083" y="6548377"/>
                </a:cubicBezTo>
                <a:cubicBezTo>
                  <a:pt x="11228823" y="6548377"/>
                  <a:pt x="11254903" y="6540416"/>
                  <a:pt x="11275615" y="6530050"/>
                </a:cubicBezTo>
                <a:lnTo>
                  <a:pt x="11275615" y="6422662"/>
                </a:lnTo>
                <a:lnTo>
                  <a:pt x="11209453" y="6422662"/>
                </a:lnTo>
                <a:lnTo>
                  <a:pt x="11209453" y="6422719"/>
                </a:lnTo>
                <a:lnTo>
                  <a:pt x="11198542" y="6455594"/>
                </a:lnTo>
                <a:lnTo>
                  <a:pt x="11233899" y="6455594"/>
                </a:lnTo>
                <a:lnTo>
                  <a:pt x="11233899" y="6506568"/>
                </a:lnTo>
                <a:cubicBezTo>
                  <a:pt x="11224914" y="6510691"/>
                  <a:pt x="11215462" y="6513498"/>
                  <a:pt x="11200234" y="6513498"/>
                </a:cubicBezTo>
                <a:cubicBezTo>
                  <a:pt x="11151224" y="6513498"/>
                  <a:pt x="11126895" y="6481368"/>
                  <a:pt x="11126895" y="6432284"/>
                </a:cubicBezTo>
                <a:cubicBezTo>
                  <a:pt x="11126895" y="6383200"/>
                  <a:pt x="11151575" y="6350039"/>
                  <a:pt x="11201693" y="6350039"/>
                </a:cubicBezTo>
                <a:cubicBezTo>
                  <a:pt x="11220071" y="6350039"/>
                  <a:pt x="11238741" y="6355824"/>
                  <a:pt x="11254203" y="6365389"/>
                </a:cubicBezTo>
                <a:lnTo>
                  <a:pt x="11265814" y="6330451"/>
                </a:lnTo>
                <a:cubicBezTo>
                  <a:pt x="11247551" y="6321116"/>
                  <a:pt x="11223397" y="6315102"/>
                  <a:pt x="11198601" y="6315102"/>
                </a:cubicBezTo>
                <a:close/>
                <a:moveTo>
                  <a:pt x="10933832" y="6315102"/>
                </a:moveTo>
                <a:cubicBezTo>
                  <a:pt x="10866502" y="6315102"/>
                  <a:pt x="10825603" y="6362811"/>
                  <a:pt x="10825603" y="6431940"/>
                </a:cubicBezTo>
                <a:cubicBezTo>
                  <a:pt x="10825603" y="6501757"/>
                  <a:pt x="10867553" y="6548435"/>
                  <a:pt x="10933832" y="6548435"/>
                </a:cubicBezTo>
                <a:cubicBezTo>
                  <a:pt x="11000112" y="6548435"/>
                  <a:pt x="11042062" y="6500726"/>
                  <a:pt x="11042062" y="6431940"/>
                </a:cubicBezTo>
                <a:cubicBezTo>
                  <a:pt x="11042062" y="6363155"/>
                  <a:pt x="11001162" y="6315102"/>
                  <a:pt x="10933832" y="6315102"/>
                </a:cubicBezTo>
                <a:close/>
                <a:moveTo>
                  <a:pt x="11829014" y="6315044"/>
                </a:moveTo>
                <a:cubicBezTo>
                  <a:pt x="11778371" y="6315044"/>
                  <a:pt x="11751124" y="6344425"/>
                  <a:pt x="11751124" y="6377874"/>
                </a:cubicBezTo>
                <a:cubicBezTo>
                  <a:pt x="11751124" y="6411321"/>
                  <a:pt x="11778721" y="6428503"/>
                  <a:pt x="11801709" y="6440474"/>
                </a:cubicBezTo>
                <a:cubicBezTo>
                  <a:pt x="11806960" y="6443223"/>
                  <a:pt x="11813320" y="6446545"/>
                  <a:pt x="11818337" y="6449180"/>
                </a:cubicBezTo>
                <a:cubicBezTo>
                  <a:pt x="11837416" y="6459145"/>
                  <a:pt x="11851361" y="6466934"/>
                  <a:pt x="11851361" y="6484231"/>
                </a:cubicBezTo>
                <a:cubicBezTo>
                  <a:pt x="11851361" y="6503933"/>
                  <a:pt x="11831990" y="6513211"/>
                  <a:pt x="11812678" y="6513211"/>
                </a:cubicBezTo>
                <a:cubicBezTo>
                  <a:pt x="11779655" y="6513211"/>
                  <a:pt x="11759643" y="6501356"/>
                  <a:pt x="11756200" y="6499523"/>
                </a:cubicBezTo>
                <a:lnTo>
                  <a:pt x="11744998" y="6533142"/>
                </a:lnTo>
                <a:cubicBezTo>
                  <a:pt x="11748265" y="6535090"/>
                  <a:pt x="11774579" y="6548263"/>
                  <a:pt x="11813436" y="6548263"/>
                </a:cubicBezTo>
                <a:cubicBezTo>
                  <a:pt x="11860929" y="6548263"/>
                  <a:pt x="11896403" y="6520943"/>
                  <a:pt x="11896403" y="6480565"/>
                </a:cubicBezTo>
                <a:cubicBezTo>
                  <a:pt x="11896403" y="6451871"/>
                  <a:pt x="11876507" y="6433715"/>
                  <a:pt x="11843834" y="6416648"/>
                </a:cubicBezTo>
                <a:cubicBezTo>
                  <a:pt x="11838116" y="6413670"/>
                  <a:pt x="11833799" y="6411379"/>
                  <a:pt x="11828431" y="6408572"/>
                </a:cubicBezTo>
                <a:cubicBezTo>
                  <a:pt x="11819329" y="6403818"/>
                  <a:pt x="11811248" y="6399566"/>
                  <a:pt x="11805443" y="6394497"/>
                </a:cubicBezTo>
                <a:lnTo>
                  <a:pt x="11796138" y="6375587"/>
                </a:lnTo>
                <a:lnTo>
                  <a:pt x="11807230" y="6356038"/>
                </a:lnTo>
                <a:cubicBezTo>
                  <a:pt x="11814005" y="6351857"/>
                  <a:pt x="11823209" y="6349924"/>
                  <a:pt x="11832924" y="6349924"/>
                </a:cubicBezTo>
                <a:cubicBezTo>
                  <a:pt x="11858945" y="6349924"/>
                  <a:pt x="11879074" y="6358401"/>
                  <a:pt x="11883158" y="6359890"/>
                </a:cubicBezTo>
                <a:lnTo>
                  <a:pt x="11883158" y="6321860"/>
                </a:lnTo>
                <a:cubicBezTo>
                  <a:pt x="11879891" y="6320886"/>
                  <a:pt x="11862037" y="6315044"/>
                  <a:pt x="11829014" y="6315044"/>
                </a:cubicBezTo>
                <a:close/>
                <a:moveTo>
                  <a:pt x="10944223" y="991275"/>
                </a:moveTo>
                <a:cubicBezTo>
                  <a:pt x="10906463" y="1040575"/>
                  <a:pt x="10877100" y="1122187"/>
                  <a:pt x="10877100" y="1206040"/>
                </a:cubicBezTo>
                <a:cubicBezTo>
                  <a:pt x="10877100" y="1377018"/>
                  <a:pt x="11037117" y="1536456"/>
                  <a:pt x="11302275" y="1536456"/>
                </a:cubicBezTo>
                <a:cubicBezTo>
                  <a:pt x="11465039" y="1536456"/>
                  <a:pt x="11594287" y="1470996"/>
                  <a:pt x="11681604" y="1396440"/>
                </a:cubicBezTo>
                <a:cubicBezTo>
                  <a:pt x="11638837" y="1410414"/>
                  <a:pt x="11577998" y="1424517"/>
                  <a:pt x="11501899" y="1424517"/>
                </a:cubicBezTo>
                <a:cubicBezTo>
                  <a:pt x="11298425" y="1424517"/>
                  <a:pt x="11059810" y="1264059"/>
                  <a:pt x="10944223" y="991275"/>
                </a:cubicBezTo>
                <a:close/>
                <a:moveTo>
                  <a:pt x="11747184" y="570722"/>
                </a:moveTo>
                <a:cubicBezTo>
                  <a:pt x="11761094" y="613416"/>
                  <a:pt x="11775261" y="674319"/>
                  <a:pt x="11775261" y="750418"/>
                </a:cubicBezTo>
                <a:lnTo>
                  <a:pt x="11775270" y="750418"/>
                </a:lnTo>
                <a:cubicBezTo>
                  <a:pt x="11775270" y="953901"/>
                  <a:pt x="11614803" y="1192516"/>
                  <a:pt x="11341955" y="1308094"/>
                </a:cubicBezTo>
                <a:cubicBezTo>
                  <a:pt x="11391255" y="1345854"/>
                  <a:pt x="11472931" y="1375281"/>
                  <a:pt x="11556784" y="1375281"/>
                </a:cubicBezTo>
                <a:cubicBezTo>
                  <a:pt x="11727762" y="1375281"/>
                  <a:pt x="11887200" y="1215273"/>
                  <a:pt x="11887200" y="950116"/>
                </a:cubicBezTo>
                <a:cubicBezTo>
                  <a:pt x="11887200" y="787278"/>
                  <a:pt x="11821676" y="658039"/>
                  <a:pt x="11747184" y="570722"/>
                </a:cubicBezTo>
                <a:close/>
                <a:moveTo>
                  <a:pt x="11046286" y="526356"/>
                </a:moveTo>
                <a:cubicBezTo>
                  <a:pt x="10875373" y="526365"/>
                  <a:pt x="10715870" y="686373"/>
                  <a:pt x="10715870" y="951595"/>
                </a:cubicBezTo>
                <a:cubicBezTo>
                  <a:pt x="10715870" y="1114359"/>
                  <a:pt x="10781321" y="1243543"/>
                  <a:pt x="10855886" y="1330851"/>
                </a:cubicBezTo>
                <a:cubicBezTo>
                  <a:pt x="10841903" y="1288157"/>
                  <a:pt x="10827800" y="1227254"/>
                  <a:pt x="10827800" y="1151164"/>
                </a:cubicBezTo>
                <a:cubicBezTo>
                  <a:pt x="10827800" y="947745"/>
                  <a:pt x="10988267" y="709130"/>
                  <a:pt x="11261051" y="593544"/>
                </a:cubicBezTo>
                <a:cubicBezTo>
                  <a:pt x="11211751" y="555719"/>
                  <a:pt x="11130139" y="526356"/>
                  <a:pt x="11046286" y="526356"/>
                </a:cubicBezTo>
                <a:close/>
                <a:moveTo>
                  <a:pt x="11300795" y="365126"/>
                </a:moveTo>
                <a:cubicBezTo>
                  <a:pt x="11138031" y="365126"/>
                  <a:pt x="11008783" y="430577"/>
                  <a:pt x="10921402" y="505206"/>
                </a:cubicBezTo>
                <a:cubicBezTo>
                  <a:pt x="10964224" y="491223"/>
                  <a:pt x="11025063" y="477056"/>
                  <a:pt x="11101162" y="477056"/>
                </a:cubicBezTo>
                <a:cubicBezTo>
                  <a:pt x="11304645" y="477056"/>
                  <a:pt x="11543260" y="637588"/>
                  <a:pt x="11658838" y="910371"/>
                </a:cubicBezTo>
                <a:lnTo>
                  <a:pt x="11658847" y="910371"/>
                </a:lnTo>
                <a:cubicBezTo>
                  <a:pt x="11696607" y="861007"/>
                  <a:pt x="11725961" y="779460"/>
                  <a:pt x="11725961" y="695542"/>
                </a:cubicBezTo>
                <a:cubicBezTo>
                  <a:pt x="11725961" y="524564"/>
                  <a:pt x="11565953" y="365126"/>
                  <a:pt x="11300795" y="365126"/>
                </a:cubicBezTo>
                <a:close/>
                <a:moveTo>
                  <a:pt x="4524293" y="0"/>
                </a:moveTo>
                <a:lnTo>
                  <a:pt x="12192000" y="0"/>
                </a:lnTo>
                <a:lnTo>
                  <a:pt x="12192000" y="6858002"/>
                </a:lnTo>
                <a:lnTo>
                  <a:pt x="0" y="6858002"/>
                </a:lnTo>
                <a:lnTo>
                  <a:pt x="0" y="6067647"/>
                </a:lnTo>
                <a:lnTo>
                  <a:pt x="4524293" y="6067647"/>
                </a:lnTo>
                <a:close/>
              </a:path>
            </a:pathLst>
          </a:custGeom>
          <a:solidFill>
            <a:schemeClr val="bg1">
              <a:alpha val="60000"/>
            </a:schemeClr>
          </a:solidFill>
        </p:spPr>
        <p:txBody>
          <a:bodyPr wrap="square" anchor="ctr">
            <a:noAutofit/>
          </a:bodyPr>
          <a:lstStyle>
            <a:lvl1pPr algn="ctr">
              <a:defRPr/>
            </a:lvl1pPr>
          </a:lstStyle>
          <a:p>
            <a:endParaRPr lang="en-US"/>
          </a:p>
        </p:txBody>
      </p:sp>
      <p:sp>
        <p:nvSpPr>
          <p:cNvPr id="16" name="Freeform 15">
            <a:extLst>
              <a:ext uri="{FF2B5EF4-FFF2-40B4-BE49-F238E27FC236}">
                <a16:creationId xmlns:a16="http://schemas.microsoft.com/office/drawing/2014/main" id="{FC6FAB00-8006-BE3D-31BA-CACFE9A151D2}"/>
              </a:ext>
            </a:extLst>
          </p:cNvPr>
          <p:cNvSpPr/>
          <p:nvPr userDrawn="1"/>
        </p:nvSpPr>
        <p:spPr>
          <a:xfrm>
            <a:off x="10715870" y="365125"/>
            <a:ext cx="1171330" cy="1171330"/>
          </a:xfrm>
          <a:custGeom>
            <a:avLst/>
            <a:gdLst>
              <a:gd name="connsiteX0" fmla="*/ 228353 w 1171330"/>
              <a:gd name="connsiteY0" fmla="*/ 626149 h 1171330"/>
              <a:gd name="connsiteX1" fmla="*/ 786029 w 1171330"/>
              <a:gd name="connsiteY1" fmla="*/ 1059391 h 1171330"/>
              <a:gd name="connsiteX2" fmla="*/ 965734 w 1171330"/>
              <a:gd name="connsiteY2" fmla="*/ 1031314 h 1171330"/>
              <a:gd name="connsiteX3" fmla="*/ 586405 w 1171330"/>
              <a:gd name="connsiteY3" fmla="*/ 1171330 h 1171330"/>
              <a:gd name="connsiteX4" fmla="*/ 161230 w 1171330"/>
              <a:gd name="connsiteY4" fmla="*/ 840914 h 1171330"/>
              <a:gd name="connsiteX5" fmla="*/ 228353 w 1171330"/>
              <a:gd name="connsiteY5" fmla="*/ 626149 h 1171330"/>
              <a:gd name="connsiteX6" fmla="*/ 1031314 w 1171330"/>
              <a:gd name="connsiteY6" fmla="*/ 205596 h 1171330"/>
              <a:gd name="connsiteX7" fmla="*/ 1171330 w 1171330"/>
              <a:gd name="connsiteY7" fmla="*/ 584990 h 1171330"/>
              <a:gd name="connsiteX8" fmla="*/ 840914 w 1171330"/>
              <a:gd name="connsiteY8" fmla="*/ 1010155 h 1171330"/>
              <a:gd name="connsiteX9" fmla="*/ 626085 w 1171330"/>
              <a:gd name="connsiteY9" fmla="*/ 942968 h 1171330"/>
              <a:gd name="connsiteX10" fmla="*/ 1059400 w 1171330"/>
              <a:gd name="connsiteY10" fmla="*/ 385292 h 1171330"/>
              <a:gd name="connsiteX11" fmla="*/ 1059391 w 1171330"/>
              <a:gd name="connsiteY11" fmla="*/ 385292 h 1171330"/>
              <a:gd name="connsiteX12" fmla="*/ 1031314 w 1171330"/>
              <a:gd name="connsiteY12" fmla="*/ 205596 h 1171330"/>
              <a:gd name="connsiteX13" fmla="*/ 330416 w 1171330"/>
              <a:gd name="connsiteY13" fmla="*/ 161230 h 1171330"/>
              <a:gd name="connsiteX14" fmla="*/ 545181 w 1171330"/>
              <a:gd name="connsiteY14" fmla="*/ 228418 h 1171330"/>
              <a:gd name="connsiteX15" fmla="*/ 111930 w 1171330"/>
              <a:gd name="connsiteY15" fmla="*/ 786038 h 1171330"/>
              <a:gd name="connsiteX16" fmla="*/ 140016 w 1171330"/>
              <a:gd name="connsiteY16" fmla="*/ 965725 h 1171330"/>
              <a:gd name="connsiteX17" fmla="*/ 0 w 1171330"/>
              <a:gd name="connsiteY17" fmla="*/ 586469 h 1171330"/>
              <a:gd name="connsiteX18" fmla="*/ 330416 w 1171330"/>
              <a:gd name="connsiteY18" fmla="*/ 161230 h 1171330"/>
              <a:gd name="connsiteX19" fmla="*/ 584925 w 1171330"/>
              <a:gd name="connsiteY19" fmla="*/ 0 h 1171330"/>
              <a:gd name="connsiteX20" fmla="*/ 1010091 w 1171330"/>
              <a:gd name="connsiteY20" fmla="*/ 330416 h 1171330"/>
              <a:gd name="connsiteX21" fmla="*/ 942977 w 1171330"/>
              <a:gd name="connsiteY21" fmla="*/ 545245 h 1171330"/>
              <a:gd name="connsiteX22" fmla="*/ 942968 w 1171330"/>
              <a:gd name="connsiteY22" fmla="*/ 545245 h 1171330"/>
              <a:gd name="connsiteX23" fmla="*/ 385292 w 1171330"/>
              <a:gd name="connsiteY23" fmla="*/ 111930 h 1171330"/>
              <a:gd name="connsiteX24" fmla="*/ 205532 w 1171330"/>
              <a:gd name="connsiteY24" fmla="*/ 140080 h 1171330"/>
              <a:gd name="connsiteX25" fmla="*/ 584925 w 1171330"/>
              <a:gd name="connsiteY25" fmla="*/ 0 h 117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71330" h="1171330">
                <a:moveTo>
                  <a:pt x="228353" y="626149"/>
                </a:moveTo>
                <a:cubicBezTo>
                  <a:pt x="343940" y="898933"/>
                  <a:pt x="582555" y="1059391"/>
                  <a:pt x="786029" y="1059391"/>
                </a:cubicBezTo>
                <a:cubicBezTo>
                  <a:pt x="862128" y="1059391"/>
                  <a:pt x="922967" y="1045288"/>
                  <a:pt x="965734" y="1031314"/>
                </a:cubicBezTo>
                <a:cubicBezTo>
                  <a:pt x="878417" y="1105870"/>
                  <a:pt x="749169" y="1171330"/>
                  <a:pt x="586405" y="1171330"/>
                </a:cubicBezTo>
                <a:cubicBezTo>
                  <a:pt x="321247" y="1171330"/>
                  <a:pt x="161230" y="1011892"/>
                  <a:pt x="161230" y="840914"/>
                </a:cubicBezTo>
                <a:cubicBezTo>
                  <a:pt x="161230" y="757061"/>
                  <a:pt x="190593" y="675449"/>
                  <a:pt x="228353" y="626149"/>
                </a:cubicBezTo>
                <a:close/>
                <a:moveTo>
                  <a:pt x="1031314" y="205596"/>
                </a:moveTo>
                <a:cubicBezTo>
                  <a:pt x="1105806" y="292913"/>
                  <a:pt x="1171330" y="422152"/>
                  <a:pt x="1171330" y="584990"/>
                </a:cubicBezTo>
                <a:cubicBezTo>
                  <a:pt x="1171330" y="850147"/>
                  <a:pt x="1011892" y="1010155"/>
                  <a:pt x="840914" y="1010155"/>
                </a:cubicBezTo>
                <a:cubicBezTo>
                  <a:pt x="757061" y="1010155"/>
                  <a:pt x="675385" y="980728"/>
                  <a:pt x="626085" y="942968"/>
                </a:cubicBezTo>
                <a:cubicBezTo>
                  <a:pt x="898933" y="827390"/>
                  <a:pt x="1059400" y="588775"/>
                  <a:pt x="1059400" y="385292"/>
                </a:cubicBezTo>
                <a:lnTo>
                  <a:pt x="1059391" y="385292"/>
                </a:lnTo>
                <a:cubicBezTo>
                  <a:pt x="1059391" y="309193"/>
                  <a:pt x="1045224" y="248290"/>
                  <a:pt x="1031314" y="205596"/>
                </a:cubicBezTo>
                <a:close/>
                <a:moveTo>
                  <a:pt x="330416" y="161230"/>
                </a:moveTo>
                <a:cubicBezTo>
                  <a:pt x="414269" y="161230"/>
                  <a:pt x="495881" y="190593"/>
                  <a:pt x="545181" y="228418"/>
                </a:cubicBezTo>
                <a:cubicBezTo>
                  <a:pt x="272397" y="344004"/>
                  <a:pt x="111930" y="582619"/>
                  <a:pt x="111930" y="786038"/>
                </a:cubicBezTo>
                <a:cubicBezTo>
                  <a:pt x="111930" y="862128"/>
                  <a:pt x="126033" y="923031"/>
                  <a:pt x="140016" y="965725"/>
                </a:cubicBezTo>
                <a:cubicBezTo>
                  <a:pt x="65451" y="878417"/>
                  <a:pt x="0" y="749233"/>
                  <a:pt x="0" y="586469"/>
                </a:cubicBezTo>
                <a:cubicBezTo>
                  <a:pt x="0" y="321247"/>
                  <a:pt x="159503" y="161239"/>
                  <a:pt x="330416" y="161230"/>
                </a:cubicBezTo>
                <a:close/>
                <a:moveTo>
                  <a:pt x="584925" y="0"/>
                </a:moveTo>
                <a:cubicBezTo>
                  <a:pt x="850083" y="0"/>
                  <a:pt x="1010091" y="159438"/>
                  <a:pt x="1010091" y="330416"/>
                </a:cubicBezTo>
                <a:cubicBezTo>
                  <a:pt x="1010091" y="414334"/>
                  <a:pt x="980737" y="495881"/>
                  <a:pt x="942977" y="545245"/>
                </a:cubicBezTo>
                <a:lnTo>
                  <a:pt x="942968" y="545245"/>
                </a:lnTo>
                <a:cubicBezTo>
                  <a:pt x="827390" y="272462"/>
                  <a:pt x="588775" y="111930"/>
                  <a:pt x="385292" y="111930"/>
                </a:cubicBezTo>
                <a:cubicBezTo>
                  <a:pt x="309193" y="111930"/>
                  <a:pt x="248354" y="126097"/>
                  <a:pt x="205532" y="140080"/>
                </a:cubicBezTo>
                <a:cubicBezTo>
                  <a:pt x="292913" y="65451"/>
                  <a:pt x="422161" y="0"/>
                  <a:pt x="584925" y="0"/>
                </a:cubicBezTo>
                <a:close/>
              </a:path>
            </a:pathLst>
          </a:custGeom>
          <a:solidFill>
            <a:schemeClr val="accent1"/>
          </a:solidFill>
          <a:ln w="54000" cap="flat">
            <a:noFill/>
            <a:prstDash val="solid"/>
            <a:miter/>
          </a:ln>
        </p:spPr>
        <p:txBody>
          <a:bodyPr rtlCol="0" anchor="ctr"/>
          <a:lstStyle/>
          <a:p>
            <a:endParaRPr lang="en-US"/>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601746" y="2434604"/>
            <a:ext cx="3460583"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3" name="Title 1">
            <a:extLst>
              <a:ext uri="{FF2B5EF4-FFF2-40B4-BE49-F238E27FC236}">
                <a16:creationId xmlns:a16="http://schemas.microsoft.com/office/drawing/2014/main" id="{B2752E12-AC7C-7A39-F30C-91A513DE106D}"/>
              </a:ext>
            </a:extLst>
          </p:cNvPr>
          <p:cNvSpPr>
            <a:spLocks noGrp="1"/>
          </p:cNvSpPr>
          <p:nvPr>
            <p:ph type="title"/>
          </p:nvPr>
        </p:nvSpPr>
        <p:spPr>
          <a:xfrm>
            <a:off x="601662" y="365125"/>
            <a:ext cx="3460671" cy="1911292"/>
          </a:xfrm>
        </p:spPr>
        <p:txBody>
          <a:bodyPr>
            <a:normAutofit/>
          </a:bodyPr>
          <a:lstStyle>
            <a:lvl1pPr>
              <a:lnSpc>
                <a:spcPct val="85000"/>
              </a:lnSpc>
              <a:defRPr sz="4600">
                <a:solidFill>
                  <a:schemeClr val="bg1"/>
                </a:solidFill>
              </a:defRPr>
            </a:lvl1pPr>
          </a:lstStyle>
          <a:p>
            <a:r>
              <a:rPr lang="en-US"/>
              <a:t>Click to edit Master title style</a:t>
            </a:r>
          </a:p>
        </p:txBody>
      </p:sp>
      <p:sp>
        <p:nvSpPr>
          <p:cNvPr id="11" name="Slide Number Placeholder 5">
            <a:extLst>
              <a:ext uri="{FF2B5EF4-FFF2-40B4-BE49-F238E27FC236}">
                <a16:creationId xmlns:a16="http://schemas.microsoft.com/office/drawing/2014/main" id="{7AB370BF-71F9-AEE6-A7B3-E148935FD09C}"/>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12699865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Bleed Image + L Title (Red)">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4D5749C-92AE-1C5A-F3FE-6B0129A12213}"/>
              </a:ext>
            </a:extLst>
          </p:cNvPr>
          <p:cNvSpPr>
            <a:spLocks noGrp="1"/>
          </p:cNvSpPr>
          <p:nvPr>
            <p:ph type="pic" sz="quarter" idx="14"/>
          </p:nvPr>
        </p:nvSpPr>
        <p:spPr>
          <a:xfrm>
            <a:off x="0" y="-3"/>
            <a:ext cx="12192000" cy="6858002"/>
          </a:xfrm>
          <a:custGeom>
            <a:avLst/>
            <a:gdLst>
              <a:gd name="connsiteX0" fmla="*/ 11796108 w 12192000"/>
              <a:gd name="connsiteY0" fmla="*/ 6375525 h 6858002"/>
              <a:gd name="connsiteX1" fmla="*/ 11796138 w 12192000"/>
              <a:gd name="connsiteY1" fmla="*/ 6375587 h 6858002"/>
              <a:gd name="connsiteX2" fmla="*/ 11796108 w 12192000"/>
              <a:gd name="connsiteY2" fmla="*/ 6375640 h 6858002"/>
              <a:gd name="connsiteX3" fmla="*/ 11586067 w 12192000"/>
              <a:gd name="connsiteY3" fmla="*/ 6351814 h 6858002"/>
              <a:gd name="connsiteX4" fmla="*/ 11613664 w 12192000"/>
              <a:gd name="connsiteY4" fmla="*/ 6351814 h 6858002"/>
              <a:gd name="connsiteX5" fmla="*/ 11656431 w 12192000"/>
              <a:gd name="connsiteY5" fmla="*/ 6387095 h 6858002"/>
              <a:gd name="connsiteX6" fmla="*/ 11613664 w 12192000"/>
              <a:gd name="connsiteY6" fmla="*/ 6423063 h 6858002"/>
              <a:gd name="connsiteX7" fmla="*/ 11613664 w 12192000"/>
              <a:gd name="connsiteY7" fmla="*/ 6423006 h 6858002"/>
              <a:gd name="connsiteX8" fmla="*/ 11586067 w 12192000"/>
              <a:gd name="connsiteY8" fmla="*/ 6423006 h 6858002"/>
              <a:gd name="connsiteX9" fmla="*/ 10671749 w 12192000"/>
              <a:gd name="connsiteY9" fmla="*/ 6351814 h 6858002"/>
              <a:gd name="connsiteX10" fmla="*/ 10699346 w 12192000"/>
              <a:gd name="connsiteY10" fmla="*/ 6351814 h 6858002"/>
              <a:gd name="connsiteX11" fmla="*/ 10742112 w 12192000"/>
              <a:gd name="connsiteY11" fmla="*/ 6387095 h 6858002"/>
              <a:gd name="connsiteX12" fmla="*/ 10699346 w 12192000"/>
              <a:gd name="connsiteY12" fmla="*/ 6423063 h 6858002"/>
              <a:gd name="connsiteX13" fmla="*/ 10699346 w 12192000"/>
              <a:gd name="connsiteY13" fmla="*/ 6423006 h 6858002"/>
              <a:gd name="connsiteX14" fmla="*/ 10671749 w 12192000"/>
              <a:gd name="connsiteY14" fmla="*/ 6423006 h 6858002"/>
              <a:gd name="connsiteX15" fmla="*/ 10933832 w 12192000"/>
              <a:gd name="connsiteY15" fmla="*/ 6350039 h 6858002"/>
              <a:gd name="connsiteX16" fmla="*/ 10997836 w 12192000"/>
              <a:gd name="connsiteY16" fmla="*/ 6431940 h 6858002"/>
              <a:gd name="connsiteX17" fmla="*/ 10933832 w 12192000"/>
              <a:gd name="connsiteY17" fmla="*/ 6513498 h 6858002"/>
              <a:gd name="connsiteX18" fmla="*/ 10869770 w 12192000"/>
              <a:gd name="connsiteY18" fmla="*/ 6431940 h 6858002"/>
              <a:gd name="connsiteX19" fmla="*/ 10933832 w 12192000"/>
              <a:gd name="connsiteY19" fmla="*/ 6350039 h 6858002"/>
              <a:gd name="connsiteX20" fmla="*/ 11544934 w 12192000"/>
              <a:gd name="connsiteY20" fmla="*/ 6317965 h 6858002"/>
              <a:gd name="connsiteX21" fmla="*/ 11544934 w 12192000"/>
              <a:gd name="connsiteY21" fmla="*/ 6545457 h 6858002"/>
              <a:gd name="connsiteX22" fmla="*/ 11586125 w 12192000"/>
              <a:gd name="connsiteY22" fmla="*/ 6545457 h 6858002"/>
              <a:gd name="connsiteX23" fmla="*/ 11586125 w 12192000"/>
              <a:gd name="connsiteY23" fmla="*/ 6456854 h 6858002"/>
              <a:gd name="connsiteX24" fmla="*/ 11600945 w 12192000"/>
              <a:gd name="connsiteY24" fmla="*/ 6456854 h 6858002"/>
              <a:gd name="connsiteX25" fmla="*/ 11641028 w 12192000"/>
              <a:gd name="connsiteY25" fmla="*/ 6487954 h 6858002"/>
              <a:gd name="connsiteX26" fmla="*/ 11674168 w 12192000"/>
              <a:gd name="connsiteY26" fmla="*/ 6545457 h 6858002"/>
              <a:gd name="connsiteX27" fmla="*/ 11721602 w 12192000"/>
              <a:gd name="connsiteY27" fmla="*/ 6545457 h 6858002"/>
              <a:gd name="connsiteX28" fmla="*/ 11683269 w 12192000"/>
              <a:gd name="connsiteY28" fmla="*/ 6479076 h 6858002"/>
              <a:gd name="connsiteX29" fmla="*/ 11656431 w 12192000"/>
              <a:gd name="connsiteY29" fmla="*/ 6451127 h 6858002"/>
              <a:gd name="connsiteX30" fmla="*/ 11656431 w 12192000"/>
              <a:gd name="connsiteY30" fmla="*/ 6449695 h 6858002"/>
              <a:gd name="connsiteX31" fmla="*/ 11698789 w 12192000"/>
              <a:gd name="connsiteY31" fmla="*/ 6387324 h 6858002"/>
              <a:gd name="connsiteX32" fmla="*/ 11614831 w 12192000"/>
              <a:gd name="connsiteY32" fmla="*/ 6317965 h 6858002"/>
              <a:gd name="connsiteX33" fmla="*/ 11544992 w 12192000"/>
              <a:gd name="connsiteY33" fmla="*/ 6317965 h 6858002"/>
              <a:gd name="connsiteX34" fmla="*/ 11342420 w 12192000"/>
              <a:gd name="connsiteY34" fmla="*/ 6317965 h 6858002"/>
              <a:gd name="connsiteX35" fmla="*/ 11342420 w 12192000"/>
              <a:gd name="connsiteY35" fmla="*/ 6545513 h 6858002"/>
              <a:gd name="connsiteX36" fmla="*/ 11485481 w 12192000"/>
              <a:gd name="connsiteY36" fmla="*/ 6545513 h 6858002"/>
              <a:gd name="connsiteX37" fmla="*/ 11485481 w 12192000"/>
              <a:gd name="connsiteY37" fmla="*/ 6511664 h 6858002"/>
              <a:gd name="connsiteX38" fmla="*/ 11384603 w 12192000"/>
              <a:gd name="connsiteY38" fmla="*/ 6511664 h 6858002"/>
              <a:gd name="connsiteX39" fmla="*/ 11384603 w 12192000"/>
              <a:gd name="connsiteY39" fmla="*/ 6446430 h 6858002"/>
              <a:gd name="connsiteX40" fmla="*/ 11473520 w 12192000"/>
              <a:gd name="connsiteY40" fmla="*/ 6446430 h 6858002"/>
              <a:gd name="connsiteX41" fmla="*/ 11473520 w 12192000"/>
              <a:gd name="connsiteY41" fmla="*/ 6412581 h 6858002"/>
              <a:gd name="connsiteX42" fmla="*/ 11384603 w 12192000"/>
              <a:gd name="connsiteY42" fmla="*/ 6412581 h 6858002"/>
              <a:gd name="connsiteX43" fmla="*/ 11384603 w 12192000"/>
              <a:gd name="connsiteY43" fmla="*/ 6351814 h 6858002"/>
              <a:gd name="connsiteX44" fmla="*/ 11473870 w 12192000"/>
              <a:gd name="connsiteY44" fmla="*/ 6351814 h 6858002"/>
              <a:gd name="connsiteX45" fmla="*/ 11485131 w 12192000"/>
              <a:gd name="connsiteY45" fmla="*/ 6317965 h 6858002"/>
              <a:gd name="connsiteX46" fmla="*/ 10630557 w 12192000"/>
              <a:gd name="connsiteY46" fmla="*/ 6317965 h 6858002"/>
              <a:gd name="connsiteX47" fmla="*/ 10630557 w 12192000"/>
              <a:gd name="connsiteY47" fmla="*/ 6545457 h 6858002"/>
              <a:gd name="connsiteX48" fmla="*/ 10671749 w 12192000"/>
              <a:gd name="connsiteY48" fmla="*/ 6545457 h 6858002"/>
              <a:gd name="connsiteX49" fmla="*/ 10671749 w 12192000"/>
              <a:gd name="connsiteY49" fmla="*/ 6456854 h 6858002"/>
              <a:gd name="connsiteX50" fmla="*/ 10686568 w 12192000"/>
              <a:gd name="connsiteY50" fmla="*/ 6456854 h 6858002"/>
              <a:gd name="connsiteX51" fmla="*/ 10726593 w 12192000"/>
              <a:gd name="connsiteY51" fmla="*/ 6487954 h 6858002"/>
              <a:gd name="connsiteX52" fmla="*/ 10759675 w 12192000"/>
              <a:gd name="connsiteY52" fmla="*/ 6545457 h 6858002"/>
              <a:gd name="connsiteX53" fmla="*/ 10807109 w 12192000"/>
              <a:gd name="connsiteY53" fmla="*/ 6545457 h 6858002"/>
              <a:gd name="connsiteX54" fmla="*/ 10768776 w 12192000"/>
              <a:gd name="connsiteY54" fmla="*/ 6479076 h 6858002"/>
              <a:gd name="connsiteX55" fmla="*/ 10741937 w 12192000"/>
              <a:gd name="connsiteY55" fmla="*/ 6451127 h 6858002"/>
              <a:gd name="connsiteX56" fmla="*/ 10741937 w 12192000"/>
              <a:gd name="connsiteY56" fmla="*/ 6449695 h 6858002"/>
              <a:gd name="connsiteX57" fmla="*/ 10784296 w 12192000"/>
              <a:gd name="connsiteY57" fmla="*/ 6387324 h 6858002"/>
              <a:gd name="connsiteX58" fmla="*/ 10700337 w 12192000"/>
              <a:gd name="connsiteY58" fmla="*/ 6317965 h 6858002"/>
              <a:gd name="connsiteX59" fmla="*/ 11198601 w 12192000"/>
              <a:gd name="connsiteY59" fmla="*/ 6315102 h 6858002"/>
              <a:gd name="connsiteX60" fmla="*/ 11082728 w 12192000"/>
              <a:gd name="connsiteY60" fmla="*/ 6435033 h 6858002"/>
              <a:gd name="connsiteX61" fmla="*/ 11197083 w 12192000"/>
              <a:gd name="connsiteY61" fmla="*/ 6548377 h 6858002"/>
              <a:gd name="connsiteX62" fmla="*/ 11275615 w 12192000"/>
              <a:gd name="connsiteY62" fmla="*/ 6530050 h 6858002"/>
              <a:gd name="connsiteX63" fmla="*/ 11275615 w 12192000"/>
              <a:gd name="connsiteY63" fmla="*/ 6422662 h 6858002"/>
              <a:gd name="connsiteX64" fmla="*/ 11209453 w 12192000"/>
              <a:gd name="connsiteY64" fmla="*/ 6422662 h 6858002"/>
              <a:gd name="connsiteX65" fmla="*/ 11209453 w 12192000"/>
              <a:gd name="connsiteY65" fmla="*/ 6422719 h 6858002"/>
              <a:gd name="connsiteX66" fmla="*/ 11198542 w 12192000"/>
              <a:gd name="connsiteY66" fmla="*/ 6455594 h 6858002"/>
              <a:gd name="connsiteX67" fmla="*/ 11233899 w 12192000"/>
              <a:gd name="connsiteY67" fmla="*/ 6455594 h 6858002"/>
              <a:gd name="connsiteX68" fmla="*/ 11233899 w 12192000"/>
              <a:gd name="connsiteY68" fmla="*/ 6506568 h 6858002"/>
              <a:gd name="connsiteX69" fmla="*/ 11200234 w 12192000"/>
              <a:gd name="connsiteY69" fmla="*/ 6513498 h 6858002"/>
              <a:gd name="connsiteX70" fmla="*/ 11126895 w 12192000"/>
              <a:gd name="connsiteY70" fmla="*/ 6432284 h 6858002"/>
              <a:gd name="connsiteX71" fmla="*/ 11201693 w 12192000"/>
              <a:gd name="connsiteY71" fmla="*/ 6350039 h 6858002"/>
              <a:gd name="connsiteX72" fmla="*/ 11254203 w 12192000"/>
              <a:gd name="connsiteY72" fmla="*/ 6365389 h 6858002"/>
              <a:gd name="connsiteX73" fmla="*/ 11265814 w 12192000"/>
              <a:gd name="connsiteY73" fmla="*/ 6330451 h 6858002"/>
              <a:gd name="connsiteX74" fmla="*/ 11198601 w 12192000"/>
              <a:gd name="connsiteY74" fmla="*/ 6315102 h 6858002"/>
              <a:gd name="connsiteX75" fmla="*/ 10933832 w 12192000"/>
              <a:gd name="connsiteY75" fmla="*/ 6315102 h 6858002"/>
              <a:gd name="connsiteX76" fmla="*/ 10825603 w 12192000"/>
              <a:gd name="connsiteY76" fmla="*/ 6431940 h 6858002"/>
              <a:gd name="connsiteX77" fmla="*/ 10933832 w 12192000"/>
              <a:gd name="connsiteY77" fmla="*/ 6548435 h 6858002"/>
              <a:gd name="connsiteX78" fmla="*/ 11042062 w 12192000"/>
              <a:gd name="connsiteY78" fmla="*/ 6431940 h 6858002"/>
              <a:gd name="connsiteX79" fmla="*/ 10933832 w 12192000"/>
              <a:gd name="connsiteY79" fmla="*/ 6315102 h 6858002"/>
              <a:gd name="connsiteX80" fmla="*/ 11829014 w 12192000"/>
              <a:gd name="connsiteY80" fmla="*/ 6315044 h 6858002"/>
              <a:gd name="connsiteX81" fmla="*/ 11751124 w 12192000"/>
              <a:gd name="connsiteY81" fmla="*/ 6377874 h 6858002"/>
              <a:gd name="connsiteX82" fmla="*/ 11801709 w 12192000"/>
              <a:gd name="connsiteY82" fmla="*/ 6440474 h 6858002"/>
              <a:gd name="connsiteX83" fmla="*/ 11818337 w 12192000"/>
              <a:gd name="connsiteY83" fmla="*/ 6449180 h 6858002"/>
              <a:gd name="connsiteX84" fmla="*/ 11851361 w 12192000"/>
              <a:gd name="connsiteY84" fmla="*/ 6484231 h 6858002"/>
              <a:gd name="connsiteX85" fmla="*/ 11812678 w 12192000"/>
              <a:gd name="connsiteY85" fmla="*/ 6513211 h 6858002"/>
              <a:gd name="connsiteX86" fmla="*/ 11756200 w 12192000"/>
              <a:gd name="connsiteY86" fmla="*/ 6499523 h 6858002"/>
              <a:gd name="connsiteX87" fmla="*/ 11744998 w 12192000"/>
              <a:gd name="connsiteY87" fmla="*/ 6533142 h 6858002"/>
              <a:gd name="connsiteX88" fmla="*/ 11813436 w 12192000"/>
              <a:gd name="connsiteY88" fmla="*/ 6548263 h 6858002"/>
              <a:gd name="connsiteX89" fmla="*/ 11896403 w 12192000"/>
              <a:gd name="connsiteY89" fmla="*/ 6480565 h 6858002"/>
              <a:gd name="connsiteX90" fmla="*/ 11843834 w 12192000"/>
              <a:gd name="connsiteY90" fmla="*/ 6416648 h 6858002"/>
              <a:gd name="connsiteX91" fmla="*/ 11828431 w 12192000"/>
              <a:gd name="connsiteY91" fmla="*/ 6408572 h 6858002"/>
              <a:gd name="connsiteX92" fmla="*/ 11805443 w 12192000"/>
              <a:gd name="connsiteY92" fmla="*/ 6394497 h 6858002"/>
              <a:gd name="connsiteX93" fmla="*/ 11796138 w 12192000"/>
              <a:gd name="connsiteY93" fmla="*/ 6375587 h 6858002"/>
              <a:gd name="connsiteX94" fmla="*/ 11807230 w 12192000"/>
              <a:gd name="connsiteY94" fmla="*/ 6356038 h 6858002"/>
              <a:gd name="connsiteX95" fmla="*/ 11832924 w 12192000"/>
              <a:gd name="connsiteY95" fmla="*/ 6349924 h 6858002"/>
              <a:gd name="connsiteX96" fmla="*/ 11883158 w 12192000"/>
              <a:gd name="connsiteY96" fmla="*/ 6359890 h 6858002"/>
              <a:gd name="connsiteX97" fmla="*/ 11883158 w 12192000"/>
              <a:gd name="connsiteY97" fmla="*/ 6321860 h 6858002"/>
              <a:gd name="connsiteX98" fmla="*/ 11829014 w 12192000"/>
              <a:gd name="connsiteY98" fmla="*/ 6315044 h 6858002"/>
              <a:gd name="connsiteX99" fmla="*/ 10944223 w 12192000"/>
              <a:gd name="connsiteY99" fmla="*/ 991275 h 6858002"/>
              <a:gd name="connsiteX100" fmla="*/ 10877100 w 12192000"/>
              <a:gd name="connsiteY100" fmla="*/ 1206040 h 6858002"/>
              <a:gd name="connsiteX101" fmla="*/ 11302275 w 12192000"/>
              <a:gd name="connsiteY101" fmla="*/ 1536456 h 6858002"/>
              <a:gd name="connsiteX102" fmla="*/ 11681604 w 12192000"/>
              <a:gd name="connsiteY102" fmla="*/ 1396440 h 6858002"/>
              <a:gd name="connsiteX103" fmla="*/ 11501899 w 12192000"/>
              <a:gd name="connsiteY103" fmla="*/ 1424517 h 6858002"/>
              <a:gd name="connsiteX104" fmla="*/ 10944223 w 12192000"/>
              <a:gd name="connsiteY104" fmla="*/ 991275 h 6858002"/>
              <a:gd name="connsiteX105" fmla="*/ 11747184 w 12192000"/>
              <a:gd name="connsiteY105" fmla="*/ 570722 h 6858002"/>
              <a:gd name="connsiteX106" fmla="*/ 11775261 w 12192000"/>
              <a:gd name="connsiteY106" fmla="*/ 750418 h 6858002"/>
              <a:gd name="connsiteX107" fmla="*/ 11775270 w 12192000"/>
              <a:gd name="connsiteY107" fmla="*/ 750418 h 6858002"/>
              <a:gd name="connsiteX108" fmla="*/ 11341955 w 12192000"/>
              <a:gd name="connsiteY108" fmla="*/ 1308094 h 6858002"/>
              <a:gd name="connsiteX109" fmla="*/ 11556784 w 12192000"/>
              <a:gd name="connsiteY109" fmla="*/ 1375281 h 6858002"/>
              <a:gd name="connsiteX110" fmla="*/ 11887200 w 12192000"/>
              <a:gd name="connsiteY110" fmla="*/ 950116 h 6858002"/>
              <a:gd name="connsiteX111" fmla="*/ 11747184 w 12192000"/>
              <a:gd name="connsiteY111" fmla="*/ 570722 h 6858002"/>
              <a:gd name="connsiteX112" fmla="*/ 11046286 w 12192000"/>
              <a:gd name="connsiteY112" fmla="*/ 526356 h 6858002"/>
              <a:gd name="connsiteX113" fmla="*/ 10715870 w 12192000"/>
              <a:gd name="connsiteY113" fmla="*/ 951595 h 6858002"/>
              <a:gd name="connsiteX114" fmla="*/ 10855886 w 12192000"/>
              <a:gd name="connsiteY114" fmla="*/ 1330851 h 6858002"/>
              <a:gd name="connsiteX115" fmla="*/ 10827800 w 12192000"/>
              <a:gd name="connsiteY115" fmla="*/ 1151164 h 6858002"/>
              <a:gd name="connsiteX116" fmla="*/ 11261051 w 12192000"/>
              <a:gd name="connsiteY116" fmla="*/ 593544 h 6858002"/>
              <a:gd name="connsiteX117" fmla="*/ 11046286 w 12192000"/>
              <a:gd name="connsiteY117" fmla="*/ 526356 h 6858002"/>
              <a:gd name="connsiteX118" fmla="*/ 11300795 w 12192000"/>
              <a:gd name="connsiteY118" fmla="*/ 365126 h 6858002"/>
              <a:gd name="connsiteX119" fmla="*/ 10921402 w 12192000"/>
              <a:gd name="connsiteY119" fmla="*/ 505206 h 6858002"/>
              <a:gd name="connsiteX120" fmla="*/ 11101162 w 12192000"/>
              <a:gd name="connsiteY120" fmla="*/ 477056 h 6858002"/>
              <a:gd name="connsiteX121" fmla="*/ 11658838 w 12192000"/>
              <a:gd name="connsiteY121" fmla="*/ 910371 h 6858002"/>
              <a:gd name="connsiteX122" fmla="*/ 11658847 w 12192000"/>
              <a:gd name="connsiteY122" fmla="*/ 910371 h 6858002"/>
              <a:gd name="connsiteX123" fmla="*/ 11725961 w 12192000"/>
              <a:gd name="connsiteY123" fmla="*/ 695542 h 6858002"/>
              <a:gd name="connsiteX124" fmla="*/ 11300795 w 12192000"/>
              <a:gd name="connsiteY124" fmla="*/ 365126 h 6858002"/>
              <a:gd name="connsiteX125" fmla="*/ 4524293 w 12192000"/>
              <a:gd name="connsiteY125" fmla="*/ 0 h 6858002"/>
              <a:gd name="connsiteX126" fmla="*/ 12192000 w 12192000"/>
              <a:gd name="connsiteY126" fmla="*/ 0 h 6858002"/>
              <a:gd name="connsiteX127" fmla="*/ 12192000 w 12192000"/>
              <a:gd name="connsiteY127" fmla="*/ 6858002 h 6858002"/>
              <a:gd name="connsiteX128" fmla="*/ 0 w 12192000"/>
              <a:gd name="connsiteY128" fmla="*/ 6858002 h 6858002"/>
              <a:gd name="connsiteX129" fmla="*/ 0 w 12192000"/>
              <a:gd name="connsiteY129" fmla="*/ 6067647 h 6858002"/>
              <a:gd name="connsiteX130" fmla="*/ 4524293 w 12192000"/>
              <a:gd name="connsiteY130" fmla="*/ 6067647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2192000" h="6858002">
                <a:moveTo>
                  <a:pt x="11796108" y="6375525"/>
                </a:moveTo>
                <a:lnTo>
                  <a:pt x="11796138" y="6375587"/>
                </a:lnTo>
                <a:lnTo>
                  <a:pt x="11796108" y="6375640"/>
                </a:lnTo>
                <a:close/>
                <a:moveTo>
                  <a:pt x="11586067" y="6351814"/>
                </a:moveTo>
                <a:lnTo>
                  <a:pt x="11613664" y="6351814"/>
                </a:lnTo>
                <a:cubicBezTo>
                  <a:pt x="11650071" y="6351814"/>
                  <a:pt x="11656431" y="6375010"/>
                  <a:pt x="11656431" y="6387095"/>
                </a:cubicBezTo>
                <a:cubicBezTo>
                  <a:pt x="11656431" y="6401299"/>
                  <a:pt x="11649138" y="6423063"/>
                  <a:pt x="11613664" y="6423063"/>
                </a:cubicBezTo>
                <a:lnTo>
                  <a:pt x="11613664" y="6423006"/>
                </a:lnTo>
                <a:lnTo>
                  <a:pt x="11586067" y="6423006"/>
                </a:lnTo>
                <a:close/>
                <a:moveTo>
                  <a:pt x="10671749" y="6351814"/>
                </a:moveTo>
                <a:lnTo>
                  <a:pt x="10699346" y="6351814"/>
                </a:lnTo>
                <a:cubicBezTo>
                  <a:pt x="10735753" y="6351814"/>
                  <a:pt x="10742112" y="6375010"/>
                  <a:pt x="10742112" y="6387095"/>
                </a:cubicBezTo>
                <a:cubicBezTo>
                  <a:pt x="10742112" y="6401299"/>
                  <a:pt x="10734819" y="6423063"/>
                  <a:pt x="10699346" y="6423063"/>
                </a:cubicBezTo>
                <a:lnTo>
                  <a:pt x="10699346" y="6423006"/>
                </a:lnTo>
                <a:lnTo>
                  <a:pt x="10671749" y="6423006"/>
                </a:lnTo>
                <a:close/>
                <a:moveTo>
                  <a:pt x="10933832" y="6350039"/>
                </a:moveTo>
                <a:cubicBezTo>
                  <a:pt x="10976948" y="6350039"/>
                  <a:pt x="10997836" y="6381482"/>
                  <a:pt x="10997836" y="6431940"/>
                </a:cubicBezTo>
                <a:cubicBezTo>
                  <a:pt x="10997836" y="6483429"/>
                  <a:pt x="10975957" y="6513498"/>
                  <a:pt x="10933832" y="6513498"/>
                </a:cubicBezTo>
                <a:cubicBezTo>
                  <a:pt x="10891707" y="6513498"/>
                  <a:pt x="10869770" y="6483773"/>
                  <a:pt x="10869770" y="6431940"/>
                </a:cubicBezTo>
                <a:cubicBezTo>
                  <a:pt x="10869770" y="6380108"/>
                  <a:pt x="10890716" y="6350039"/>
                  <a:pt x="10933832" y="6350039"/>
                </a:cubicBezTo>
                <a:close/>
                <a:moveTo>
                  <a:pt x="11544934" y="6317965"/>
                </a:moveTo>
                <a:lnTo>
                  <a:pt x="11544934" y="6545457"/>
                </a:lnTo>
                <a:lnTo>
                  <a:pt x="11586125" y="6545457"/>
                </a:lnTo>
                <a:lnTo>
                  <a:pt x="11586125" y="6456854"/>
                </a:lnTo>
                <a:lnTo>
                  <a:pt x="11600945" y="6456854"/>
                </a:lnTo>
                <a:cubicBezTo>
                  <a:pt x="11622299" y="6456854"/>
                  <a:pt x="11627725" y="6464471"/>
                  <a:pt x="11641028" y="6487954"/>
                </a:cubicBezTo>
                <a:lnTo>
                  <a:pt x="11674168" y="6545457"/>
                </a:lnTo>
                <a:lnTo>
                  <a:pt x="11721602" y="6545457"/>
                </a:lnTo>
                <a:lnTo>
                  <a:pt x="11683269" y="6479076"/>
                </a:lnTo>
                <a:cubicBezTo>
                  <a:pt x="11670667" y="6456912"/>
                  <a:pt x="11660981" y="6452387"/>
                  <a:pt x="11656431" y="6451127"/>
                </a:cubicBezTo>
                <a:lnTo>
                  <a:pt x="11656431" y="6449695"/>
                </a:lnTo>
                <a:cubicBezTo>
                  <a:pt x="11665882" y="6446201"/>
                  <a:pt x="11698789" y="6429935"/>
                  <a:pt x="11698789" y="6387324"/>
                </a:cubicBezTo>
                <a:cubicBezTo>
                  <a:pt x="11698789" y="6356968"/>
                  <a:pt x="11678835" y="6317965"/>
                  <a:pt x="11614831" y="6317965"/>
                </a:cubicBezTo>
                <a:lnTo>
                  <a:pt x="11544992" y="6317965"/>
                </a:lnTo>
                <a:close/>
                <a:moveTo>
                  <a:pt x="11342420" y="6317965"/>
                </a:moveTo>
                <a:lnTo>
                  <a:pt x="11342420" y="6545513"/>
                </a:lnTo>
                <a:lnTo>
                  <a:pt x="11485481" y="6545513"/>
                </a:lnTo>
                <a:lnTo>
                  <a:pt x="11485481" y="6511664"/>
                </a:lnTo>
                <a:lnTo>
                  <a:pt x="11384603" y="6511664"/>
                </a:lnTo>
                <a:lnTo>
                  <a:pt x="11384603" y="6446430"/>
                </a:lnTo>
                <a:lnTo>
                  <a:pt x="11473520" y="6446430"/>
                </a:lnTo>
                <a:lnTo>
                  <a:pt x="11473520" y="6412581"/>
                </a:lnTo>
                <a:lnTo>
                  <a:pt x="11384603" y="6412581"/>
                </a:lnTo>
                <a:lnTo>
                  <a:pt x="11384603" y="6351814"/>
                </a:lnTo>
                <a:lnTo>
                  <a:pt x="11473870" y="6351814"/>
                </a:lnTo>
                <a:lnTo>
                  <a:pt x="11485131" y="6317965"/>
                </a:lnTo>
                <a:close/>
                <a:moveTo>
                  <a:pt x="10630557" y="6317965"/>
                </a:moveTo>
                <a:lnTo>
                  <a:pt x="10630557" y="6545457"/>
                </a:lnTo>
                <a:lnTo>
                  <a:pt x="10671749" y="6545457"/>
                </a:lnTo>
                <a:lnTo>
                  <a:pt x="10671749" y="6456854"/>
                </a:lnTo>
                <a:lnTo>
                  <a:pt x="10686568" y="6456854"/>
                </a:lnTo>
                <a:cubicBezTo>
                  <a:pt x="10707864" y="6456854"/>
                  <a:pt x="10713290" y="6464471"/>
                  <a:pt x="10726593" y="6487954"/>
                </a:cubicBezTo>
                <a:lnTo>
                  <a:pt x="10759675" y="6545457"/>
                </a:lnTo>
                <a:lnTo>
                  <a:pt x="10807109" y="6545457"/>
                </a:lnTo>
                <a:lnTo>
                  <a:pt x="10768776" y="6479076"/>
                </a:lnTo>
                <a:cubicBezTo>
                  <a:pt x="10756174" y="6456912"/>
                  <a:pt x="10746488" y="6452387"/>
                  <a:pt x="10741937" y="6451127"/>
                </a:cubicBezTo>
                <a:lnTo>
                  <a:pt x="10741937" y="6449695"/>
                </a:lnTo>
                <a:cubicBezTo>
                  <a:pt x="10751447" y="6446201"/>
                  <a:pt x="10784296" y="6429935"/>
                  <a:pt x="10784296" y="6387324"/>
                </a:cubicBezTo>
                <a:cubicBezTo>
                  <a:pt x="10784296" y="6356968"/>
                  <a:pt x="10764342" y="6317965"/>
                  <a:pt x="10700337" y="6317965"/>
                </a:cubicBezTo>
                <a:close/>
                <a:moveTo>
                  <a:pt x="11198601" y="6315102"/>
                </a:moveTo>
                <a:cubicBezTo>
                  <a:pt x="11127770" y="6315102"/>
                  <a:pt x="11082728" y="6365904"/>
                  <a:pt x="11082728" y="6435033"/>
                </a:cubicBezTo>
                <a:cubicBezTo>
                  <a:pt x="11082728" y="6500325"/>
                  <a:pt x="11122578" y="6548377"/>
                  <a:pt x="11197083" y="6548377"/>
                </a:cubicBezTo>
                <a:cubicBezTo>
                  <a:pt x="11228823" y="6548377"/>
                  <a:pt x="11254903" y="6540416"/>
                  <a:pt x="11275615" y="6530050"/>
                </a:cubicBezTo>
                <a:lnTo>
                  <a:pt x="11275615" y="6422662"/>
                </a:lnTo>
                <a:lnTo>
                  <a:pt x="11209453" y="6422662"/>
                </a:lnTo>
                <a:lnTo>
                  <a:pt x="11209453" y="6422719"/>
                </a:lnTo>
                <a:lnTo>
                  <a:pt x="11198542" y="6455594"/>
                </a:lnTo>
                <a:lnTo>
                  <a:pt x="11233899" y="6455594"/>
                </a:lnTo>
                <a:lnTo>
                  <a:pt x="11233899" y="6506568"/>
                </a:lnTo>
                <a:cubicBezTo>
                  <a:pt x="11224914" y="6510691"/>
                  <a:pt x="11215462" y="6513498"/>
                  <a:pt x="11200234" y="6513498"/>
                </a:cubicBezTo>
                <a:cubicBezTo>
                  <a:pt x="11151224" y="6513498"/>
                  <a:pt x="11126895" y="6481368"/>
                  <a:pt x="11126895" y="6432284"/>
                </a:cubicBezTo>
                <a:cubicBezTo>
                  <a:pt x="11126895" y="6383200"/>
                  <a:pt x="11151575" y="6350039"/>
                  <a:pt x="11201693" y="6350039"/>
                </a:cubicBezTo>
                <a:cubicBezTo>
                  <a:pt x="11220071" y="6350039"/>
                  <a:pt x="11238741" y="6355824"/>
                  <a:pt x="11254203" y="6365389"/>
                </a:cubicBezTo>
                <a:lnTo>
                  <a:pt x="11265814" y="6330451"/>
                </a:lnTo>
                <a:cubicBezTo>
                  <a:pt x="11247551" y="6321116"/>
                  <a:pt x="11223397" y="6315102"/>
                  <a:pt x="11198601" y="6315102"/>
                </a:cubicBezTo>
                <a:close/>
                <a:moveTo>
                  <a:pt x="10933832" y="6315102"/>
                </a:moveTo>
                <a:cubicBezTo>
                  <a:pt x="10866502" y="6315102"/>
                  <a:pt x="10825603" y="6362811"/>
                  <a:pt x="10825603" y="6431940"/>
                </a:cubicBezTo>
                <a:cubicBezTo>
                  <a:pt x="10825603" y="6501757"/>
                  <a:pt x="10867553" y="6548435"/>
                  <a:pt x="10933832" y="6548435"/>
                </a:cubicBezTo>
                <a:cubicBezTo>
                  <a:pt x="11000112" y="6548435"/>
                  <a:pt x="11042062" y="6500726"/>
                  <a:pt x="11042062" y="6431940"/>
                </a:cubicBezTo>
                <a:cubicBezTo>
                  <a:pt x="11042062" y="6363155"/>
                  <a:pt x="11001162" y="6315102"/>
                  <a:pt x="10933832" y="6315102"/>
                </a:cubicBezTo>
                <a:close/>
                <a:moveTo>
                  <a:pt x="11829014" y="6315044"/>
                </a:moveTo>
                <a:cubicBezTo>
                  <a:pt x="11778371" y="6315044"/>
                  <a:pt x="11751124" y="6344425"/>
                  <a:pt x="11751124" y="6377874"/>
                </a:cubicBezTo>
                <a:cubicBezTo>
                  <a:pt x="11751124" y="6411321"/>
                  <a:pt x="11778721" y="6428503"/>
                  <a:pt x="11801709" y="6440474"/>
                </a:cubicBezTo>
                <a:cubicBezTo>
                  <a:pt x="11806960" y="6443223"/>
                  <a:pt x="11813320" y="6446545"/>
                  <a:pt x="11818337" y="6449180"/>
                </a:cubicBezTo>
                <a:cubicBezTo>
                  <a:pt x="11837416" y="6459145"/>
                  <a:pt x="11851361" y="6466934"/>
                  <a:pt x="11851361" y="6484231"/>
                </a:cubicBezTo>
                <a:cubicBezTo>
                  <a:pt x="11851361" y="6503933"/>
                  <a:pt x="11831990" y="6513211"/>
                  <a:pt x="11812678" y="6513211"/>
                </a:cubicBezTo>
                <a:cubicBezTo>
                  <a:pt x="11779655" y="6513211"/>
                  <a:pt x="11759643" y="6501356"/>
                  <a:pt x="11756200" y="6499523"/>
                </a:cubicBezTo>
                <a:lnTo>
                  <a:pt x="11744998" y="6533142"/>
                </a:lnTo>
                <a:cubicBezTo>
                  <a:pt x="11748265" y="6535090"/>
                  <a:pt x="11774579" y="6548263"/>
                  <a:pt x="11813436" y="6548263"/>
                </a:cubicBezTo>
                <a:cubicBezTo>
                  <a:pt x="11860929" y="6548263"/>
                  <a:pt x="11896403" y="6520943"/>
                  <a:pt x="11896403" y="6480565"/>
                </a:cubicBezTo>
                <a:cubicBezTo>
                  <a:pt x="11896403" y="6451871"/>
                  <a:pt x="11876507" y="6433715"/>
                  <a:pt x="11843834" y="6416648"/>
                </a:cubicBezTo>
                <a:cubicBezTo>
                  <a:pt x="11838116" y="6413670"/>
                  <a:pt x="11833799" y="6411379"/>
                  <a:pt x="11828431" y="6408572"/>
                </a:cubicBezTo>
                <a:cubicBezTo>
                  <a:pt x="11819329" y="6403818"/>
                  <a:pt x="11811248" y="6399566"/>
                  <a:pt x="11805443" y="6394497"/>
                </a:cubicBezTo>
                <a:lnTo>
                  <a:pt x="11796138" y="6375587"/>
                </a:lnTo>
                <a:lnTo>
                  <a:pt x="11807230" y="6356038"/>
                </a:lnTo>
                <a:cubicBezTo>
                  <a:pt x="11814005" y="6351857"/>
                  <a:pt x="11823209" y="6349924"/>
                  <a:pt x="11832924" y="6349924"/>
                </a:cubicBezTo>
                <a:cubicBezTo>
                  <a:pt x="11858945" y="6349924"/>
                  <a:pt x="11879074" y="6358401"/>
                  <a:pt x="11883158" y="6359890"/>
                </a:cubicBezTo>
                <a:lnTo>
                  <a:pt x="11883158" y="6321860"/>
                </a:lnTo>
                <a:cubicBezTo>
                  <a:pt x="11879891" y="6320886"/>
                  <a:pt x="11862037" y="6315044"/>
                  <a:pt x="11829014" y="6315044"/>
                </a:cubicBezTo>
                <a:close/>
                <a:moveTo>
                  <a:pt x="10944223" y="991275"/>
                </a:moveTo>
                <a:cubicBezTo>
                  <a:pt x="10906463" y="1040575"/>
                  <a:pt x="10877100" y="1122187"/>
                  <a:pt x="10877100" y="1206040"/>
                </a:cubicBezTo>
                <a:cubicBezTo>
                  <a:pt x="10877100" y="1377018"/>
                  <a:pt x="11037117" y="1536456"/>
                  <a:pt x="11302275" y="1536456"/>
                </a:cubicBezTo>
                <a:cubicBezTo>
                  <a:pt x="11465039" y="1536456"/>
                  <a:pt x="11594287" y="1470996"/>
                  <a:pt x="11681604" y="1396440"/>
                </a:cubicBezTo>
                <a:cubicBezTo>
                  <a:pt x="11638837" y="1410414"/>
                  <a:pt x="11577998" y="1424517"/>
                  <a:pt x="11501899" y="1424517"/>
                </a:cubicBezTo>
                <a:cubicBezTo>
                  <a:pt x="11298425" y="1424517"/>
                  <a:pt x="11059810" y="1264059"/>
                  <a:pt x="10944223" y="991275"/>
                </a:cubicBezTo>
                <a:close/>
                <a:moveTo>
                  <a:pt x="11747184" y="570722"/>
                </a:moveTo>
                <a:cubicBezTo>
                  <a:pt x="11761094" y="613416"/>
                  <a:pt x="11775261" y="674319"/>
                  <a:pt x="11775261" y="750418"/>
                </a:cubicBezTo>
                <a:lnTo>
                  <a:pt x="11775270" y="750418"/>
                </a:lnTo>
                <a:cubicBezTo>
                  <a:pt x="11775270" y="953901"/>
                  <a:pt x="11614803" y="1192516"/>
                  <a:pt x="11341955" y="1308094"/>
                </a:cubicBezTo>
                <a:cubicBezTo>
                  <a:pt x="11391255" y="1345854"/>
                  <a:pt x="11472931" y="1375281"/>
                  <a:pt x="11556784" y="1375281"/>
                </a:cubicBezTo>
                <a:cubicBezTo>
                  <a:pt x="11727762" y="1375281"/>
                  <a:pt x="11887200" y="1215273"/>
                  <a:pt x="11887200" y="950116"/>
                </a:cubicBezTo>
                <a:cubicBezTo>
                  <a:pt x="11887200" y="787278"/>
                  <a:pt x="11821676" y="658039"/>
                  <a:pt x="11747184" y="570722"/>
                </a:cubicBezTo>
                <a:close/>
                <a:moveTo>
                  <a:pt x="11046286" y="526356"/>
                </a:moveTo>
                <a:cubicBezTo>
                  <a:pt x="10875373" y="526365"/>
                  <a:pt x="10715870" y="686373"/>
                  <a:pt x="10715870" y="951595"/>
                </a:cubicBezTo>
                <a:cubicBezTo>
                  <a:pt x="10715870" y="1114359"/>
                  <a:pt x="10781321" y="1243543"/>
                  <a:pt x="10855886" y="1330851"/>
                </a:cubicBezTo>
                <a:cubicBezTo>
                  <a:pt x="10841903" y="1288157"/>
                  <a:pt x="10827800" y="1227254"/>
                  <a:pt x="10827800" y="1151164"/>
                </a:cubicBezTo>
                <a:cubicBezTo>
                  <a:pt x="10827800" y="947745"/>
                  <a:pt x="10988267" y="709130"/>
                  <a:pt x="11261051" y="593544"/>
                </a:cubicBezTo>
                <a:cubicBezTo>
                  <a:pt x="11211751" y="555719"/>
                  <a:pt x="11130139" y="526356"/>
                  <a:pt x="11046286" y="526356"/>
                </a:cubicBezTo>
                <a:close/>
                <a:moveTo>
                  <a:pt x="11300795" y="365126"/>
                </a:moveTo>
                <a:cubicBezTo>
                  <a:pt x="11138031" y="365126"/>
                  <a:pt x="11008783" y="430577"/>
                  <a:pt x="10921402" y="505206"/>
                </a:cubicBezTo>
                <a:cubicBezTo>
                  <a:pt x="10964224" y="491223"/>
                  <a:pt x="11025063" y="477056"/>
                  <a:pt x="11101162" y="477056"/>
                </a:cubicBezTo>
                <a:cubicBezTo>
                  <a:pt x="11304645" y="477056"/>
                  <a:pt x="11543260" y="637588"/>
                  <a:pt x="11658838" y="910371"/>
                </a:cubicBezTo>
                <a:lnTo>
                  <a:pt x="11658847" y="910371"/>
                </a:lnTo>
                <a:cubicBezTo>
                  <a:pt x="11696607" y="861007"/>
                  <a:pt x="11725961" y="779460"/>
                  <a:pt x="11725961" y="695542"/>
                </a:cubicBezTo>
                <a:cubicBezTo>
                  <a:pt x="11725961" y="524564"/>
                  <a:pt x="11565953" y="365126"/>
                  <a:pt x="11300795" y="365126"/>
                </a:cubicBezTo>
                <a:close/>
                <a:moveTo>
                  <a:pt x="4524293" y="0"/>
                </a:moveTo>
                <a:lnTo>
                  <a:pt x="12192000" y="0"/>
                </a:lnTo>
                <a:lnTo>
                  <a:pt x="12192000" y="6858002"/>
                </a:lnTo>
                <a:lnTo>
                  <a:pt x="0" y="6858002"/>
                </a:lnTo>
                <a:lnTo>
                  <a:pt x="0" y="6067647"/>
                </a:lnTo>
                <a:lnTo>
                  <a:pt x="4524293" y="6067647"/>
                </a:lnTo>
                <a:close/>
              </a:path>
            </a:pathLst>
          </a:custGeom>
          <a:solidFill>
            <a:schemeClr val="bg1">
              <a:alpha val="60000"/>
            </a:schemeClr>
          </a:solidFill>
        </p:spPr>
        <p:txBody>
          <a:bodyPr wrap="square" anchor="ctr">
            <a:noAutofit/>
          </a:bodyPr>
          <a:lstStyle>
            <a:lvl1pPr algn="ctr">
              <a:defRPr/>
            </a:lvl1pPr>
          </a:lstStyle>
          <a:p>
            <a:endParaRPr lang="en-US"/>
          </a:p>
        </p:txBody>
      </p:sp>
      <p:sp>
        <p:nvSpPr>
          <p:cNvPr id="2" name="Freeform 1">
            <a:extLst>
              <a:ext uri="{FF2B5EF4-FFF2-40B4-BE49-F238E27FC236}">
                <a16:creationId xmlns:a16="http://schemas.microsoft.com/office/drawing/2014/main" id="{684A997F-A79D-1095-8E23-6BA5DB6DA7DD}"/>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C6FAB00-8006-BE3D-31BA-CACFE9A151D2}"/>
              </a:ext>
            </a:extLst>
          </p:cNvPr>
          <p:cNvSpPr/>
          <p:nvPr userDrawn="1"/>
        </p:nvSpPr>
        <p:spPr>
          <a:xfrm>
            <a:off x="10715870" y="365125"/>
            <a:ext cx="1171330" cy="1171330"/>
          </a:xfrm>
          <a:custGeom>
            <a:avLst/>
            <a:gdLst>
              <a:gd name="connsiteX0" fmla="*/ 228353 w 1171330"/>
              <a:gd name="connsiteY0" fmla="*/ 626149 h 1171330"/>
              <a:gd name="connsiteX1" fmla="*/ 786029 w 1171330"/>
              <a:gd name="connsiteY1" fmla="*/ 1059391 h 1171330"/>
              <a:gd name="connsiteX2" fmla="*/ 965734 w 1171330"/>
              <a:gd name="connsiteY2" fmla="*/ 1031314 h 1171330"/>
              <a:gd name="connsiteX3" fmla="*/ 586405 w 1171330"/>
              <a:gd name="connsiteY3" fmla="*/ 1171330 h 1171330"/>
              <a:gd name="connsiteX4" fmla="*/ 161230 w 1171330"/>
              <a:gd name="connsiteY4" fmla="*/ 840914 h 1171330"/>
              <a:gd name="connsiteX5" fmla="*/ 228353 w 1171330"/>
              <a:gd name="connsiteY5" fmla="*/ 626149 h 1171330"/>
              <a:gd name="connsiteX6" fmla="*/ 1031314 w 1171330"/>
              <a:gd name="connsiteY6" fmla="*/ 205596 h 1171330"/>
              <a:gd name="connsiteX7" fmla="*/ 1171330 w 1171330"/>
              <a:gd name="connsiteY7" fmla="*/ 584990 h 1171330"/>
              <a:gd name="connsiteX8" fmla="*/ 840914 w 1171330"/>
              <a:gd name="connsiteY8" fmla="*/ 1010155 h 1171330"/>
              <a:gd name="connsiteX9" fmla="*/ 626085 w 1171330"/>
              <a:gd name="connsiteY9" fmla="*/ 942968 h 1171330"/>
              <a:gd name="connsiteX10" fmla="*/ 1059400 w 1171330"/>
              <a:gd name="connsiteY10" fmla="*/ 385292 h 1171330"/>
              <a:gd name="connsiteX11" fmla="*/ 1059391 w 1171330"/>
              <a:gd name="connsiteY11" fmla="*/ 385292 h 1171330"/>
              <a:gd name="connsiteX12" fmla="*/ 1031314 w 1171330"/>
              <a:gd name="connsiteY12" fmla="*/ 205596 h 1171330"/>
              <a:gd name="connsiteX13" fmla="*/ 330416 w 1171330"/>
              <a:gd name="connsiteY13" fmla="*/ 161230 h 1171330"/>
              <a:gd name="connsiteX14" fmla="*/ 545181 w 1171330"/>
              <a:gd name="connsiteY14" fmla="*/ 228418 h 1171330"/>
              <a:gd name="connsiteX15" fmla="*/ 111930 w 1171330"/>
              <a:gd name="connsiteY15" fmla="*/ 786038 h 1171330"/>
              <a:gd name="connsiteX16" fmla="*/ 140016 w 1171330"/>
              <a:gd name="connsiteY16" fmla="*/ 965725 h 1171330"/>
              <a:gd name="connsiteX17" fmla="*/ 0 w 1171330"/>
              <a:gd name="connsiteY17" fmla="*/ 586469 h 1171330"/>
              <a:gd name="connsiteX18" fmla="*/ 330416 w 1171330"/>
              <a:gd name="connsiteY18" fmla="*/ 161230 h 1171330"/>
              <a:gd name="connsiteX19" fmla="*/ 584925 w 1171330"/>
              <a:gd name="connsiteY19" fmla="*/ 0 h 1171330"/>
              <a:gd name="connsiteX20" fmla="*/ 1010091 w 1171330"/>
              <a:gd name="connsiteY20" fmla="*/ 330416 h 1171330"/>
              <a:gd name="connsiteX21" fmla="*/ 942977 w 1171330"/>
              <a:gd name="connsiteY21" fmla="*/ 545245 h 1171330"/>
              <a:gd name="connsiteX22" fmla="*/ 942968 w 1171330"/>
              <a:gd name="connsiteY22" fmla="*/ 545245 h 1171330"/>
              <a:gd name="connsiteX23" fmla="*/ 385292 w 1171330"/>
              <a:gd name="connsiteY23" fmla="*/ 111930 h 1171330"/>
              <a:gd name="connsiteX24" fmla="*/ 205532 w 1171330"/>
              <a:gd name="connsiteY24" fmla="*/ 140080 h 1171330"/>
              <a:gd name="connsiteX25" fmla="*/ 584925 w 1171330"/>
              <a:gd name="connsiteY25" fmla="*/ 0 h 117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71330" h="1171330">
                <a:moveTo>
                  <a:pt x="228353" y="626149"/>
                </a:moveTo>
                <a:cubicBezTo>
                  <a:pt x="343940" y="898933"/>
                  <a:pt x="582555" y="1059391"/>
                  <a:pt x="786029" y="1059391"/>
                </a:cubicBezTo>
                <a:cubicBezTo>
                  <a:pt x="862128" y="1059391"/>
                  <a:pt x="922967" y="1045288"/>
                  <a:pt x="965734" y="1031314"/>
                </a:cubicBezTo>
                <a:cubicBezTo>
                  <a:pt x="878417" y="1105870"/>
                  <a:pt x="749169" y="1171330"/>
                  <a:pt x="586405" y="1171330"/>
                </a:cubicBezTo>
                <a:cubicBezTo>
                  <a:pt x="321247" y="1171330"/>
                  <a:pt x="161230" y="1011892"/>
                  <a:pt x="161230" y="840914"/>
                </a:cubicBezTo>
                <a:cubicBezTo>
                  <a:pt x="161230" y="757061"/>
                  <a:pt x="190593" y="675449"/>
                  <a:pt x="228353" y="626149"/>
                </a:cubicBezTo>
                <a:close/>
                <a:moveTo>
                  <a:pt x="1031314" y="205596"/>
                </a:moveTo>
                <a:cubicBezTo>
                  <a:pt x="1105806" y="292913"/>
                  <a:pt x="1171330" y="422152"/>
                  <a:pt x="1171330" y="584990"/>
                </a:cubicBezTo>
                <a:cubicBezTo>
                  <a:pt x="1171330" y="850147"/>
                  <a:pt x="1011892" y="1010155"/>
                  <a:pt x="840914" y="1010155"/>
                </a:cubicBezTo>
                <a:cubicBezTo>
                  <a:pt x="757061" y="1010155"/>
                  <a:pt x="675385" y="980728"/>
                  <a:pt x="626085" y="942968"/>
                </a:cubicBezTo>
                <a:cubicBezTo>
                  <a:pt x="898933" y="827390"/>
                  <a:pt x="1059400" y="588775"/>
                  <a:pt x="1059400" y="385292"/>
                </a:cubicBezTo>
                <a:lnTo>
                  <a:pt x="1059391" y="385292"/>
                </a:lnTo>
                <a:cubicBezTo>
                  <a:pt x="1059391" y="309193"/>
                  <a:pt x="1045224" y="248290"/>
                  <a:pt x="1031314" y="205596"/>
                </a:cubicBezTo>
                <a:close/>
                <a:moveTo>
                  <a:pt x="330416" y="161230"/>
                </a:moveTo>
                <a:cubicBezTo>
                  <a:pt x="414269" y="161230"/>
                  <a:pt x="495881" y="190593"/>
                  <a:pt x="545181" y="228418"/>
                </a:cubicBezTo>
                <a:cubicBezTo>
                  <a:pt x="272397" y="344004"/>
                  <a:pt x="111930" y="582619"/>
                  <a:pt x="111930" y="786038"/>
                </a:cubicBezTo>
                <a:cubicBezTo>
                  <a:pt x="111930" y="862128"/>
                  <a:pt x="126033" y="923031"/>
                  <a:pt x="140016" y="965725"/>
                </a:cubicBezTo>
                <a:cubicBezTo>
                  <a:pt x="65451" y="878417"/>
                  <a:pt x="0" y="749233"/>
                  <a:pt x="0" y="586469"/>
                </a:cubicBezTo>
                <a:cubicBezTo>
                  <a:pt x="0" y="321247"/>
                  <a:pt x="159503" y="161239"/>
                  <a:pt x="330416" y="161230"/>
                </a:cubicBezTo>
                <a:close/>
                <a:moveTo>
                  <a:pt x="584925" y="0"/>
                </a:moveTo>
                <a:cubicBezTo>
                  <a:pt x="850083" y="0"/>
                  <a:pt x="1010091" y="159438"/>
                  <a:pt x="1010091" y="330416"/>
                </a:cubicBezTo>
                <a:cubicBezTo>
                  <a:pt x="1010091" y="414334"/>
                  <a:pt x="980737" y="495881"/>
                  <a:pt x="942977" y="545245"/>
                </a:cubicBezTo>
                <a:lnTo>
                  <a:pt x="942968" y="545245"/>
                </a:lnTo>
                <a:cubicBezTo>
                  <a:pt x="827390" y="272462"/>
                  <a:pt x="588775" y="111930"/>
                  <a:pt x="385292" y="111930"/>
                </a:cubicBezTo>
                <a:cubicBezTo>
                  <a:pt x="309193" y="111930"/>
                  <a:pt x="248354" y="126097"/>
                  <a:pt x="205532" y="140080"/>
                </a:cubicBezTo>
                <a:cubicBezTo>
                  <a:pt x="292913" y="65451"/>
                  <a:pt x="422161" y="0"/>
                  <a:pt x="584925" y="0"/>
                </a:cubicBezTo>
                <a:close/>
              </a:path>
            </a:pathLst>
          </a:custGeom>
          <a:solidFill>
            <a:srgbClr val="DA291C"/>
          </a:solidFill>
          <a:ln w="54000" cap="flat">
            <a:noFill/>
            <a:prstDash val="solid"/>
            <a:miter/>
          </a:ln>
        </p:spPr>
        <p:txBody>
          <a:bodyPr rtlCol="0" anchor="ctr"/>
          <a:lstStyle/>
          <a:p>
            <a:endParaRPr lang="en-US"/>
          </a:p>
        </p:txBody>
      </p:sp>
      <p:sp>
        <p:nvSpPr>
          <p:cNvPr id="15" name="Text Placeholder 14">
            <a:extLst>
              <a:ext uri="{FF2B5EF4-FFF2-40B4-BE49-F238E27FC236}">
                <a16:creationId xmlns:a16="http://schemas.microsoft.com/office/drawing/2014/main" id="{18DD8C73-0679-84AB-1010-B69149899D4E}"/>
              </a:ext>
            </a:extLst>
          </p:cNvPr>
          <p:cNvSpPr>
            <a:spLocks noGrp="1"/>
          </p:cNvSpPr>
          <p:nvPr>
            <p:ph type="body" sz="quarter" idx="13"/>
          </p:nvPr>
        </p:nvSpPr>
        <p:spPr>
          <a:xfrm>
            <a:off x="601746" y="2434604"/>
            <a:ext cx="3460583" cy="221599"/>
          </a:xfrm>
        </p:spPr>
        <p:txBody>
          <a:bodyPr lIns="0" tIns="0" rIns="0" bIns="0">
            <a:noAutofit/>
          </a:bodyPr>
          <a:lstStyle>
            <a:lvl1pPr marL="0" indent="0">
              <a:buNone/>
              <a:defRPr sz="1800" b="0" i="0">
                <a:solidFill>
                  <a:schemeClr val="bg1"/>
                </a:solidFill>
                <a:latin typeface="Ted Next DemiBold" panose="020B0602030202020203" pitchFamily="34" charset="77"/>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04F92870-0BDC-4F13-9CD7-961056743AAE}"/>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4" name="Title 1">
            <a:extLst>
              <a:ext uri="{FF2B5EF4-FFF2-40B4-BE49-F238E27FC236}">
                <a16:creationId xmlns:a16="http://schemas.microsoft.com/office/drawing/2014/main" id="{936F9D36-07BA-86FC-2A33-65610EDA6F0A}"/>
              </a:ext>
            </a:extLst>
          </p:cNvPr>
          <p:cNvSpPr>
            <a:spLocks noGrp="1"/>
          </p:cNvSpPr>
          <p:nvPr>
            <p:ph type="title"/>
          </p:nvPr>
        </p:nvSpPr>
        <p:spPr>
          <a:xfrm>
            <a:off x="601662" y="365125"/>
            <a:ext cx="3460671" cy="1911292"/>
          </a:xfrm>
        </p:spPr>
        <p:txBody>
          <a:bodyPr>
            <a:normAutofit/>
          </a:bodyPr>
          <a:lstStyle>
            <a:lvl1pPr>
              <a:lnSpc>
                <a:spcPct val="85000"/>
              </a:lnSpc>
              <a:defRPr sz="4600">
                <a:solidFill>
                  <a:schemeClr val="bg1"/>
                </a:solidFill>
              </a:defRPr>
            </a:lvl1pPr>
          </a:lstStyle>
          <a:p>
            <a:r>
              <a:rPr lang="en-US"/>
              <a:t>Click to edit Master title style</a:t>
            </a:r>
          </a:p>
        </p:txBody>
      </p:sp>
    </p:spTree>
    <p:extLst>
      <p:ext uri="{BB962C8B-B14F-4D97-AF65-F5344CB8AC3E}">
        <p14:creationId xmlns:p14="http://schemas.microsoft.com/office/powerpoint/2010/main" val="37047943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 Subtitle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739D-F53B-BF43-FD2F-99EC7179A9CC}"/>
              </a:ext>
            </a:extLst>
          </p:cNvPr>
          <p:cNvSpPr>
            <a:spLocks noGrp="1"/>
          </p:cNvSpPr>
          <p:nvPr>
            <p:ph type="ctrTitle"/>
          </p:nvPr>
        </p:nvSpPr>
        <p:spPr>
          <a:xfrm>
            <a:off x="601663" y="1417996"/>
            <a:ext cx="10996612" cy="2387600"/>
          </a:xfrm>
        </p:spPr>
        <p:txBody>
          <a:bodyPr anchor="b">
            <a:normAutofit/>
          </a:bodyPr>
          <a:lstStyle>
            <a:lvl1pPr algn="l">
              <a:lnSpc>
                <a:spcPct val="90000"/>
              </a:lnSpc>
              <a:defRPr sz="58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D1233330-3B50-F55B-A83E-71FF05AD8F24}"/>
              </a:ext>
            </a:extLst>
          </p:cNvPr>
          <p:cNvSpPr>
            <a:spLocks noGrp="1"/>
          </p:cNvSpPr>
          <p:nvPr>
            <p:ph type="subTitle" idx="1"/>
          </p:nvPr>
        </p:nvSpPr>
        <p:spPr>
          <a:xfrm>
            <a:off x="601663" y="3897671"/>
            <a:ext cx="10996612" cy="1655762"/>
          </a:xfrm>
        </p:spPr>
        <p:txBody>
          <a:bodyPr lIns="0" tIns="0" rIns="0" bIns="0"/>
          <a:lstStyle>
            <a:lvl1pPr marL="0" indent="0" algn="l">
              <a:buNone/>
              <a:defRPr sz="2400" b="0" i="0">
                <a:solidFill>
                  <a:schemeClr val="tx1"/>
                </a:solidFill>
                <a:latin typeface="Ted Next DemiBold" panose="020B060203020202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5">
            <a:extLst>
              <a:ext uri="{FF2B5EF4-FFF2-40B4-BE49-F238E27FC236}">
                <a16:creationId xmlns:a16="http://schemas.microsoft.com/office/drawing/2014/main" id="{C3606510-8E5E-84ED-90EA-8703AFEB5964}"/>
              </a:ext>
            </a:extLst>
          </p:cNvPr>
          <p:cNvSpPr>
            <a:spLocks noGrp="1"/>
          </p:cNvSpPr>
          <p:nvPr>
            <p:ph type="sldNum" sz="quarter" idx="12"/>
          </p:nvPr>
        </p:nvSpPr>
        <p:spPr>
          <a:xfrm>
            <a:off x="601663" y="6400542"/>
            <a:ext cx="594620" cy="184666"/>
          </a:xfrm>
        </p:spPr>
        <p:txBody>
          <a:bodyPr/>
          <a:lstStyle/>
          <a:p>
            <a:fld id="{37FA3778-6BAA-AD46-B30E-6B3D07CF735F}" type="slidenum">
              <a:rPr lang="en-US" smtClean="0"/>
              <a:t>‹#›</a:t>
            </a:fld>
            <a:endParaRPr lang="en-US"/>
          </a:p>
        </p:txBody>
      </p:sp>
    </p:spTree>
    <p:extLst>
      <p:ext uri="{BB962C8B-B14F-4D97-AF65-F5344CB8AC3E}">
        <p14:creationId xmlns:p14="http://schemas.microsoft.com/office/powerpoint/2010/main" val="7936498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Subtit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739D-F53B-BF43-FD2F-99EC7179A9CC}"/>
              </a:ext>
            </a:extLst>
          </p:cNvPr>
          <p:cNvSpPr>
            <a:spLocks noGrp="1"/>
          </p:cNvSpPr>
          <p:nvPr>
            <p:ph type="ctrTitle"/>
          </p:nvPr>
        </p:nvSpPr>
        <p:spPr>
          <a:xfrm>
            <a:off x="601663" y="1417996"/>
            <a:ext cx="10996612" cy="2387600"/>
          </a:xfrm>
        </p:spPr>
        <p:txBody>
          <a:bodyPr anchor="b">
            <a:normAutofit/>
          </a:bodyPr>
          <a:lstStyle>
            <a:lvl1pPr algn="l">
              <a:lnSpc>
                <a:spcPct val="90000"/>
              </a:lnSpc>
              <a:defRPr sz="58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Subtitle 2">
            <a:extLst>
              <a:ext uri="{FF2B5EF4-FFF2-40B4-BE49-F238E27FC236}">
                <a16:creationId xmlns:a16="http://schemas.microsoft.com/office/drawing/2014/main" id="{35C83390-0C7A-0F28-AED5-87DB4D03F2AF}"/>
              </a:ext>
            </a:extLst>
          </p:cNvPr>
          <p:cNvSpPr>
            <a:spLocks noGrp="1"/>
          </p:cNvSpPr>
          <p:nvPr>
            <p:ph type="subTitle" idx="1"/>
          </p:nvPr>
        </p:nvSpPr>
        <p:spPr>
          <a:xfrm>
            <a:off x="601663" y="3897671"/>
            <a:ext cx="10996612" cy="1655762"/>
          </a:xfrm>
        </p:spPr>
        <p:txBody>
          <a:bodyPr lIns="0" tIns="0" rIns="0" bIns="0"/>
          <a:lstStyle>
            <a:lvl1pPr marL="0" indent="0" algn="l">
              <a:buNone/>
              <a:defRPr sz="2400" b="0" i="0">
                <a:solidFill>
                  <a:schemeClr val="bg1"/>
                </a:solidFill>
                <a:latin typeface="Ted Next DemiBold" panose="020B060203020202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639554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 Sub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739D-F53B-BF43-FD2F-99EC7179A9CC}"/>
              </a:ext>
            </a:extLst>
          </p:cNvPr>
          <p:cNvSpPr>
            <a:spLocks noGrp="1"/>
          </p:cNvSpPr>
          <p:nvPr>
            <p:ph type="ctrTitle"/>
          </p:nvPr>
        </p:nvSpPr>
        <p:spPr>
          <a:xfrm>
            <a:off x="601663" y="1417996"/>
            <a:ext cx="10996612" cy="2387600"/>
          </a:xfrm>
        </p:spPr>
        <p:txBody>
          <a:bodyPr anchor="b">
            <a:normAutofit/>
          </a:bodyPr>
          <a:lstStyle>
            <a:lvl1pPr algn="l">
              <a:lnSpc>
                <a:spcPct val="90000"/>
              </a:lnSpc>
              <a:defRPr sz="5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1233330-3B50-F55B-A83E-71FF05AD8F24}"/>
              </a:ext>
            </a:extLst>
          </p:cNvPr>
          <p:cNvSpPr>
            <a:spLocks noGrp="1"/>
          </p:cNvSpPr>
          <p:nvPr>
            <p:ph type="subTitle" idx="1"/>
          </p:nvPr>
        </p:nvSpPr>
        <p:spPr>
          <a:xfrm>
            <a:off x="601663" y="3897671"/>
            <a:ext cx="10996612" cy="1655762"/>
          </a:xfrm>
        </p:spPr>
        <p:txBody>
          <a:bodyPr lIns="0" tIns="0" rIns="0" bIns="0"/>
          <a:lstStyle>
            <a:lvl1pPr marL="0" indent="0" algn="l">
              <a:buNone/>
              <a:defRPr sz="2400" b="0" i="0">
                <a:solidFill>
                  <a:schemeClr val="bg1"/>
                </a:solidFill>
                <a:latin typeface="Ted Next DemiBold" panose="020B060203020202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15" name="Freeform 14">
            <a:extLst>
              <a:ext uri="{FF2B5EF4-FFF2-40B4-BE49-F238E27FC236}">
                <a16:creationId xmlns:a16="http://schemas.microsoft.com/office/drawing/2014/main" id="{D37693D2-F9A6-B6FC-EE1A-14EEE57C159B}"/>
              </a:ext>
            </a:extLst>
          </p:cNvPr>
          <p:cNvSpPr/>
          <p:nvPr/>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21249456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Col Text (Whit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7F251-09E4-C1B0-B001-3540D0D2067E}"/>
              </a:ext>
            </a:extLst>
          </p:cNvPr>
          <p:cNvSpPr>
            <a:spLocks noGrp="1"/>
          </p:cNvSpPr>
          <p:nvPr>
            <p:ph type="body" sz="quarter" idx="14"/>
          </p:nvPr>
        </p:nvSpPr>
        <p:spPr>
          <a:xfrm>
            <a:off x="601663" y="1354440"/>
            <a:ext cx="10988675" cy="3419579"/>
          </a:xfrm>
        </p:spPr>
        <p:txBody>
          <a:bodyPr>
            <a:noAutofit/>
          </a:bodyPr>
          <a:lstStyle>
            <a:lvl1pPr marL="1350" indent="0">
              <a:buClr>
                <a:schemeClr val="accent1"/>
              </a:buClr>
              <a:buFont typeface="Arial" panose="020B0604020202020204" pitchFamily="34" charset="0"/>
              <a:buNone/>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83F1894-00E5-94A2-CFAB-222FF093CAD6}"/>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0587778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Col Tex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7" name="Text Placeholder 6">
            <a:extLst>
              <a:ext uri="{FF2B5EF4-FFF2-40B4-BE49-F238E27FC236}">
                <a16:creationId xmlns:a16="http://schemas.microsoft.com/office/drawing/2014/main" id="{9F6F4C6F-2DD8-4C31-E680-8294EB462E83}"/>
              </a:ext>
            </a:extLst>
          </p:cNvPr>
          <p:cNvSpPr>
            <a:spLocks noGrp="1"/>
          </p:cNvSpPr>
          <p:nvPr>
            <p:ph type="body" sz="quarter" idx="1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96C08FD0-B282-39B5-890B-208D82013BC9}"/>
              </a:ext>
            </a:extLst>
          </p:cNvPr>
          <p:cNvSpPr>
            <a:spLocks noGrp="1"/>
          </p:cNvSpPr>
          <p:nvPr>
            <p:ph type="body" sz="quarter" idx="14"/>
          </p:nvPr>
        </p:nvSpPr>
        <p:spPr>
          <a:xfrm>
            <a:off x="601663" y="1354440"/>
            <a:ext cx="10988675" cy="3419579"/>
          </a:xfrm>
        </p:spPr>
        <p:txBody>
          <a:bodyPr>
            <a:noAutofit/>
          </a:bodyPr>
          <a:lstStyle>
            <a:lvl1pPr marL="1350" indent="0">
              <a:buClr>
                <a:schemeClr val="accent1"/>
              </a:buClr>
              <a:buFont typeface="Arial" panose="020B0604020202020204" pitchFamily="34" charset="0"/>
              <a:buNone/>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9680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Col Tex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7" name="Text Placeholder 6">
            <a:extLst>
              <a:ext uri="{FF2B5EF4-FFF2-40B4-BE49-F238E27FC236}">
                <a16:creationId xmlns:a16="http://schemas.microsoft.com/office/drawing/2014/main" id="{9F6F4C6F-2DD8-4C31-E680-8294EB462E83}"/>
              </a:ext>
            </a:extLst>
          </p:cNvPr>
          <p:cNvSpPr>
            <a:spLocks noGrp="1"/>
          </p:cNvSpPr>
          <p:nvPr>
            <p:ph type="body" sz="quarter" idx="1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4" name="Freeform 3">
            <a:extLst>
              <a:ext uri="{FF2B5EF4-FFF2-40B4-BE49-F238E27FC236}">
                <a16:creationId xmlns:a16="http://schemas.microsoft.com/office/drawing/2014/main" id="{FEB4682C-1AE8-93AF-9DAA-2F4E3EDF5DD0}"/>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0" name="Text Placeholder 6">
            <a:extLst>
              <a:ext uri="{FF2B5EF4-FFF2-40B4-BE49-F238E27FC236}">
                <a16:creationId xmlns:a16="http://schemas.microsoft.com/office/drawing/2014/main" id="{A8AAC4F3-D6D5-2522-166D-3B67CE05E666}"/>
              </a:ext>
            </a:extLst>
          </p:cNvPr>
          <p:cNvSpPr>
            <a:spLocks noGrp="1"/>
          </p:cNvSpPr>
          <p:nvPr>
            <p:ph type="body" sz="quarter" idx="14"/>
          </p:nvPr>
        </p:nvSpPr>
        <p:spPr>
          <a:xfrm>
            <a:off x="601663" y="1354440"/>
            <a:ext cx="10988675" cy="3419579"/>
          </a:xfrm>
        </p:spPr>
        <p:txBody>
          <a:bodyPr>
            <a:noAutofit/>
          </a:bodyPr>
          <a:lstStyle>
            <a:lvl1pPr marL="1350" indent="0">
              <a:buClr>
                <a:schemeClr val="bg1"/>
              </a:buClr>
              <a:buFont typeface="Arial" panose="020B0604020202020204" pitchFamily="34" charset="0"/>
              <a:buNone/>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980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 1 Chart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01663" y="1354137"/>
            <a:ext cx="10996611" cy="4751387"/>
          </a:xfrm>
        </p:spPr>
        <p:txBody>
          <a:bodyPr anchor="ctr"/>
          <a:lstStyle>
            <a:lvl1pPr algn="ctr">
              <a:defRPr/>
            </a:lvl1pPr>
          </a:lstStyle>
          <a:p>
            <a:r>
              <a:rPr lang="en-US"/>
              <a:t>Click icon to add chart</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Tree>
    <p:extLst>
      <p:ext uri="{BB962C8B-B14F-4D97-AF65-F5344CB8AC3E}">
        <p14:creationId xmlns:p14="http://schemas.microsoft.com/office/powerpoint/2010/main" val="2100850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Only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83F1894-00E5-94A2-CFAB-222FF093CAD6}"/>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341472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7" name="Text Placeholder 6">
            <a:extLst>
              <a:ext uri="{FF2B5EF4-FFF2-40B4-BE49-F238E27FC236}">
                <a16:creationId xmlns:a16="http://schemas.microsoft.com/office/drawing/2014/main" id="{9F6F4C6F-2DD8-4C31-E680-8294EB462E83}"/>
              </a:ext>
            </a:extLst>
          </p:cNvPr>
          <p:cNvSpPr>
            <a:spLocks noGrp="1"/>
          </p:cNvSpPr>
          <p:nvPr>
            <p:ph type="body" sz="quarter" idx="1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0277729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Only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7" name="Text Placeholder 6">
            <a:extLst>
              <a:ext uri="{FF2B5EF4-FFF2-40B4-BE49-F238E27FC236}">
                <a16:creationId xmlns:a16="http://schemas.microsoft.com/office/drawing/2014/main" id="{9F6F4C6F-2DD8-4C31-E680-8294EB462E83}"/>
              </a:ext>
            </a:extLst>
          </p:cNvPr>
          <p:cNvSpPr>
            <a:spLocks noGrp="1"/>
          </p:cNvSpPr>
          <p:nvPr>
            <p:ph type="body" sz="quarter" idx="1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4" name="Freeform 3">
            <a:extLst>
              <a:ext uri="{FF2B5EF4-FFF2-40B4-BE49-F238E27FC236}">
                <a16:creationId xmlns:a16="http://schemas.microsoft.com/office/drawing/2014/main" id="{FEB4682C-1AE8-93AF-9DAA-2F4E3EDF5DD0}"/>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19640203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Col Text + Headlines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4B4C9D6E-45E5-E0D1-AF17-C0BD25271EEA}"/>
              </a:ext>
            </a:extLst>
          </p:cNvPr>
          <p:cNvSpPr>
            <a:spLocks noGrp="1"/>
          </p:cNvSpPr>
          <p:nvPr>
            <p:ph type="body" sz="quarter" idx="16"/>
          </p:nvPr>
        </p:nvSpPr>
        <p:spPr>
          <a:xfrm>
            <a:off x="601662" y="1354440"/>
            <a:ext cx="5313263"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D6952A53-89F9-22A7-2B19-86B4A1BD29BC}"/>
              </a:ext>
            </a:extLst>
          </p:cNvPr>
          <p:cNvSpPr>
            <a:spLocks noGrp="1"/>
          </p:cNvSpPr>
          <p:nvPr>
            <p:ph type="body" sz="quarter" idx="17"/>
          </p:nvPr>
        </p:nvSpPr>
        <p:spPr>
          <a:xfrm>
            <a:off x="6298015" y="1354440"/>
            <a:ext cx="5313263"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3" name="Text Placeholder 6">
            <a:extLst>
              <a:ext uri="{FF2B5EF4-FFF2-40B4-BE49-F238E27FC236}">
                <a16:creationId xmlns:a16="http://schemas.microsoft.com/office/drawing/2014/main" id="{4344BC15-EECD-C119-5F85-51168A75FC81}"/>
              </a:ext>
            </a:extLst>
          </p:cNvPr>
          <p:cNvSpPr>
            <a:spLocks noGrp="1"/>
          </p:cNvSpPr>
          <p:nvPr>
            <p:ph type="body" sz="quarter" idx="18"/>
          </p:nvPr>
        </p:nvSpPr>
        <p:spPr>
          <a:xfrm>
            <a:off x="601664" y="1777322"/>
            <a:ext cx="5313262" cy="3168650"/>
          </a:xfrm>
        </p:spPr>
        <p:txBody>
          <a:bodyPr/>
          <a:lstStyle>
            <a:lvl1pPr marL="287100" indent="-285750">
              <a:buClr>
                <a:schemeClr val="accent1"/>
              </a:buClr>
              <a:buFont typeface="Arial" panose="020B0604020202020204" pitchFamily="34" charset="0"/>
              <a:buChar char="•"/>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8E8684A2-1C0A-C037-079D-6CDED1BECEBD}"/>
              </a:ext>
            </a:extLst>
          </p:cNvPr>
          <p:cNvSpPr>
            <a:spLocks noGrp="1"/>
          </p:cNvSpPr>
          <p:nvPr>
            <p:ph type="body" sz="quarter" idx="19"/>
          </p:nvPr>
        </p:nvSpPr>
        <p:spPr>
          <a:xfrm>
            <a:off x="6298016" y="1777322"/>
            <a:ext cx="5313262" cy="3168650"/>
          </a:xfrm>
        </p:spPr>
        <p:txBody>
          <a:bodyPr/>
          <a:lstStyle>
            <a:lvl1pPr marL="287100" indent="-285750">
              <a:buClr>
                <a:schemeClr val="accent1"/>
              </a:buClr>
              <a:buFont typeface="Arial" panose="020B0604020202020204" pitchFamily="34" charset="0"/>
              <a:buChar char="•"/>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617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Col Text + Headlin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3" name="Text Placeholder 6">
            <a:extLst>
              <a:ext uri="{FF2B5EF4-FFF2-40B4-BE49-F238E27FC236}">
                <a16:creationId xmlns:a16="http://schemas.microsoft.com/office/drawing/2014/main" id="{796A8107-E03C-A744-5E5E-0EADC28D29EA}"/>
              </a:ext>
            </a:extLst>
          </p:cNvPr>
          <p:cNvSpPr>
            <a:spLocks noGrp="1"/>
          </p:cNvSpPr>
          <p:nvPr>
            <p:ph type="body" sz="quarter" idx="16"/>
          </p:nvPr>
        </p:nvSpPr>
        <p:spPr>
          <a:xfrm>
            <a:off x="601662"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Text Placeholder 6">
            <a:extLst>
              <a:ext uri="{FF2B5EF4-FFF2-40B4-BE49-F238E27FC236}">
                <a16:creationId xmlns:a16="http://schemas.microsoft.com/office/drawing/2014/main" id="{D7BEF3A5-812E-1036-F18A-C23D23B90946}"/>
              </a:ext>
            </a:extLst>
          </p:cNvPr>
          <p:cNvSpPr>
            <a:spLocks noGrp="1"/>
          </p:cNvSpPr>
          <p:nvPr>
            <p:ph type="body" sz="quarter" idx="17"/>
          </p:nvPr>
        </p:nvSpPr>
        <p:spPr>
          <a:xfrm>
            <a:off x="6298015"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37733500-515F-248E-AEDA-E92995F4804F}"/>
              </a:ext>
            </a:extLst>
          </p:cNvPr>
          <p:cNvSpPr>
            <a:spLocks noGrp="1"/>
          </p:cNvSpPr>
          <p:nvPr>
            <p:ph type="body" sz="quarter" idx="18"/>
          </p:nvPr>
        </p:nvSpPr>
        <p:spPr>
          <a:xfrm>
            <a:off x="601664" y="1777322"/>
            <a:ext cx="5313262"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FEE39E5A-FB7C-7561-84C8-E99150AC8799}"/>
              </a:ext>
            </a:extLst>
          </p:cNvPr>
          <p:cNvSpPr>
            <a:spLocks noGrp="1"/>
          </p:cNvSpPr>
          <p:nvPr>
            <p:ph type="body" sz="quarter" idx="19"/>
          </p:nvPr>
        </p:nvSpPr>
        <p:spPr>
          <a:xfrm>
            <a:off x="6298016" y="1777322"/>
            <a:ext cx="5313262"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42306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Col Text + Headline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buClr>
                <a:schemeClr val="bg1"/>
              </a:buCl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3" name="Text Placeholder 6">
            <a:extLst>
              <a:ext uri="{FF2B5EF4-FFF2-40B4-BE49-F238E27FC236}">
                <a16:creationId xmlns:a16="http://schemas.microsoft.com/office/drawing/2014/main" id="{1F06C95E-7A21-16E1-1A9B-EBC06312C05F}"/>
              </a:ext>
            </a:extLst>
          </p:cNvPr>
          <p:cNvSpPr>
            <a:spLocks noGrp="1"/>
          </p:cNvSpPr>
          <p:nvPr>
            <p:ph type="body" sz="quarter" idx="16"/>
          </p:nvPr>
        </p:nvSpPr>
        <p:spPr>
          <a:xfrm>
            <a:off x="601662"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Text Placeholder 6">
            <a:extLst>
              <a:ext uri="{FF2B5EF4-FFF2-40B4-BE49-F238E27FC236}">
                <a16:creationId xmlns:a16="http://schemas.microsoft.com/office/drawing/2014/main" id="{7307FC42-BA9C-7BDC-5D02-0F251AC3D49E}"/>
              </a:ext>
            </a:extLst>
          </p:cNvPr>
          <p:cNvSpPr>
            <a:spLocks noGrp="1"/>
          </p:cNvSpPr>
          <p:nvPr>
            <p:ph type="body" sz="quarter" idx="17"/>
          </p:nvPr>
        </p:nvSpPr>
        <p:spPr>
          <a:xfrm>
            <a:off x="6298015"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Freeform 10">
            <a:extLst>
              <a:ext uri="{FF2B5EF4-FFF2-40B4-BE49-F238E27FC236}">
                <a16:creationId xmlns:a16="http://schemas.microsoft.com/office/drawing/2014/main" id="{1A79C9B8-E88A-C0C4-989F-A317C4811C82}"/>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8" name="Text Placeholder 6">
            <a:extLst>
              <a:ext uri="{FF2B5EF4-FFF2-40B4-BE49-F238E27FC236}">
                <a16:creationId xmlns:a16="http://schemas.microsoft.com/office/drawing/2014/main" id="{29875DC8-9C56-B2DC-7568-917B1D141AF6}"/>
              </a:ext>
            </a:extLst>
          </p:cNvPr>
          <p:cNvSpPr>
            <a:spLocks noGrp="1"/>
          </p:cNvSpPr>
          <p:nvPr>
            <p:ph type="body" sz="quarter" idx="18"/>
          </p:nvPr>
        </p:nvSpPr>
        <p:spPr>
          <a:xfrm>
            <a:off x="601664" y="1777322"/>
            <a:ext cx="5313262"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C45317FD-2FD0-3792-76A3-24A903C22EA6}"/>
              </a:ext>
            </a:extLst>
          </p:cNvPr>
          <p:cNvSpPr>
            <a:spLocks noGrp="1"/>
          </p:cNvSpPr>
          <p:nvPr>
            <p:ph type="body" sz="quarter" idx="19"/>
          </p:nvPr>
        </p:nvSpPr>
        <p:spPr>
          <a:xfrm>
            <a:off x="6298016" y="1777322"/>
            <a:ext cx="5313262"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0984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 Text + Headlines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Text Placeholder 6">
            <a:extLst>
              <a:ext uri="{FF2B5EF4-FFF2-40B4-BE49-F238E27FC236}">
                <a16:creationId xmlns:a16="http://schemas.microsoft.com/office/drawing/2014/main" id="{4B4C9D6E-45E5-E0D1-AF17-C0BD25271EEA}"/>
              </a:ext>
            </a:extLst>
          </p:cNvPr>
          <p:cNvSpPr>
            <a:spLocks noGrp="1"/>
          </p:cNvSpPr>
          <p:nvPr>
            <p:ph type="body" sz="quarter" idx="16" hasCustomPrompt="1"/>
          </p:nvPr>
        </p:nvSpPr>
        <p:spPr>
          <a:xfrm>
            <a:off x="601662" y="1596685"/>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4" name="Text Placeholder 6">
            <a:extLst>
              <a:ext uri="{FF2B5EF4-FFF2-40B4-BE49-F238E27FC236}">
                <a16:creationId xmlns:a16="http://schemas.microsoft.com/office/drawing/2014/main" id="{138BF081-1F71-D245-307D-C99B2BEBFD0C}"/>
              </a:ext>
            </a:extLst>
          </p:cNvPr>
          <p:cNvSpPr>
            <a:spLocks noGrp="1"/>
          </p:cNvSpPr>
          <p:nvPr>
            <p:ph type="body" sz="quarter" idx="18" hasCustomPrompt="1"/>
          </p:nvPr>
        </p:nvSpPr>
        <p:spPr>
          <a:xfrm>
            <a:off x="4394138" y="1596685"/>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6" name="Text Placeholder 6">
            <a:extLst>
              <a:ext uri="{FF2B5EF4-FFF2-40B4-BE49-F238E27FC236}">
                <a16:creationId xmlns:a16="http://schemas.microsoft.com/office/drawing/2014/main" id="{9B1F9FF7-9B48-165F-557D-771378EDCA48}"/>
              </a:ext>
            </a:extLst>
          </p:cNvPr>
          <p:cNvSpPr>
            <a:spLocks noGrp="1"/>
          </p:cNvSpPr>
          <p:nvPr>
            <p:ph type="body" sz="quarter" idx="20" hasCustomPrompt="1"/>
          </p:nvPr>
        </p:nvSpPr>
        <p:spPr>
          <a:xfrm>
            <a:off x="8186614" y="1596685"/>
            <a:ext cx="3424665" cy="357659"/>
          </a:xfrm>
        </p:spPr>
        <p:txBody>
          <a:bodyPr anchor="b">
            <a:noAutofit/>
          </a:bodyPr>
          <a:lstStyle>
            <a:lvl1pPr>
              <a:lnSpc>
                <a:spcPct val="80000"/>
              </a:lnSpc>
              <a:defRPr sz="2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7" name="Text Placeholder 6">
            <a:extLst>
              <a:ext uri="{FF2B5EF4-FFF2-40B4-BE49-F238E27FC236}">
                <a16:creationId xmlns:a16="http://schemas.microsoft.com/office/drawing/2014/main" id="{2A5ED724-C52C-E45D-5602-522B0E8E117B}"/>
              </a:ext>
            </a:extLst>
          </p:cNvPr>
          <p:cNvSpPr>
            <a:spLocks noGrp="1"/>
          </p:cNvSpPr>
          <p:nvPr>
            <p:ph type="body" sz="quarter" idx="21"/>
          </p:nvPr>
        </p:nvSpPr>
        <p:spPr>
          <a:xfrm>
            <a:off x="601664" y="2019567"/>
            <a:ext cx="3424662" cy="3168650"/>
          </a:xfrm>
        </p:spPr>
        <p:txBody>
          <a:bodyPr>
            <a:noAutofit/>
          </a:bodyPr>
          <a:lstStyle>
            <a:lvl1pPr marL="287100" indent="-285750">
              <a:buClr>
                <a:schemeClr val="accent1"/>
              </a:buClr>
              <a:buFont typeface="Arial" panose="020B0604020202020204" pitchFamily="34" charset="0"/>
              <a:buChar char="•"/>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06B8F0B-F6D4-0356-6ED4-310B397790F9}"/>
              </a:ext>
            </a:extLst>
          </p:cNvPr>
          <p:cNvSpPr>
            <a:spLocks noGrp="1"/>
          </p:cNvSpPr>
          <p:nvPr>
            <p:ph type="body" sz="quarter" idx="22"/>
          </p:nvPr>
        </p:nvSpPr>
        <p:spPr>
          <a:xfrm>
            <a:off x="4394141" y="2019567"/>
            <a:ext cx="3424662" cy="3168650"/>
          </a:xfrm>
        </p:spPr>
        <p:txBody>
          <a:bodyPr>
            <a:noAutofit/>
          </a:bodyPr>
          <a:lstStyle>
            <a:lvl1pPr marL="287100" indent="-285750">
              <a:buClr>
                <a:schemeClr val="accent1"/>
              </a:buClr>
              <a:buFont typeface="Arial" panose="020B0604020202020204" pitchFamily="34" charset="0"/>
              <a:buChar char="•"/>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BA630AFD-1114-8BFA-5A73-230EFA23E8CB}"/>
              </a:ext>
            </a:extLst>
          </p:cNvPr>
          <p:cNvSpPr>
            <a:spLocks noGrp="1"/>
          </p:cNvSpPr>
          <p:nvPr>
            <p:ph type="body" sz="quarter" idx="23"/>
          </p:nvPr>
        </p:nvSpPr>
        <p:spPr>
          <a:xfrm>
            <a:off x="8186617" y="2019567"/>
            <a:ext cx="3424662" cy="3168650"/>
          </a:xfrm>
        </p:spPr>
        <p:txBody>
          <a:bodyPr>
            <a:noAutofit/>
          </a:bodyPr>
          <a:lstStyle>
            <a:lvl1pPr marL="287100" indent="-285750">
              <a:buClr>
                <a:schemeClr val="accent1"/>
              </a:buClr>
              <a:buFont typeface="Arial" panose="020B0604020202020204" pitchFamily="34" charset="0"/>
              <a:buChar char="•"/>
              <a:defRPr b="0" i="0">
                <a:latin typeface="+mn-lt"/>
              </a:defRPr>
            </a:lvl1pPr>
            <a:lvl2pPr marL="720000" indent="-284400">
              <a:buClr>
                <a:schemeClr val="accent1"/>
              </a:buClr>
              <a:buFont typeface="Courier New" panose="02070309020205020404" pitchFamily="49" charset="0"/>
              <a:buChar char="o"/>
              <a:tabLst/>
              <a:defRPr b="0">
                <a:latin typeface="+mn-lt"/>
              </a:defRPr>
            </a:lvl2pPr>
            <a:lvl3pPr marL="1080000" indent="-284400">
              <a:buClr>
                <a:schemeClr val="accent1"/>
              </a:buClr>
              <a:buFont typeface="Wingdings" pitchFamily="2" charset="2"/>
              <a:buChar char="§"/>
              <a:tabLst/>
              <a:defRPr b="0">
                <a:latin typeface="+mn-lt"/>
              </a:defRPr>
            </a:lvl3pPr>
            <a:lvl4pPr marL="1440000" indent="-284400">
              <a:buClr>
                <a:schemeClr val="accent1"/>
              </a:buClr>
              <a:buFont typeface="System Font Regular"/>
              <a:buChar char="—"/>
              <a:tabLst/>
              <a:defRPr b="0">
                <a:latin typeface="+mn-lt"/>
              </a:defRPr>
            </a:lvl4pPr>
            <a:lvl5pPr marL="1800000" indent="-284400">
              <a:buClr>
                <a:schemeClr val="accent1"/>
              </a:buClr>
              <a:buFont typeface="Arial" panose="020B0604020202020204" pitchFamily="34" charset="0"/>
              <a:buChar char="•"/>
              <a:tabLst/>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362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Col Text + Headlin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A84CAABB-2D12-8CEA-A4BF-5E0A781E5FCA}"/>
              </a:ext>
            </a:extLst>
          </p:cNvPr>
          <p:cNvSpPr>
            <a:spLocks noGrp="1"/>
          </p:cNvSpPr>
          <p:nvPr>
            <p:ph type="body" sz="quarter" idx="16" hasCustomPrompt="1"/>
          </p:nvPr>
        </p:nvSpPr>
        <p:spPr>
          <a:xfrm>
            <a:off x="601662" y="1596685"/>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0" name="Text Placeholder 6">
            <a:extLst>
              <a:ext uri="{FF2B5EF4-FFF2-40B4-BE49-F238E27FC236}">
                <a16:creationId xmlns:a16="http://schemas.microsoft.com/office/drawing/2014/main" id="{72484733-4621-D9E8-3EEC-FDB7F4EA9AC9}"/>
              </a:ext>
            </a:extLst>
          </p:cNvPr>
          <p:cNvSpPr>
            <a:spLocks noGrp="1"/>
          </p:cNvSpPr>
          <p:nvPr>
            <p:ph type="body" sz="quarter" idx="18" hasCustomPrompt="1"/>
          </p:nvPr>
        </p:nvSpPr>
        <p:spPr>
          <a:xfrm>
            <a:off x="4394138" y="1596685"/>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2" name="Text Placeholder 6">
            <a:extLst>
              <a:ext uri="{FF2B5EF4-FFF2-40B4-BE49-F238E27FC236}">
                <a16:creationId xmlns:a16="http://schemas.microsoft.com/office/drawing/2014/main" id="{A02A159D-31BD-70ED-F309-346A9A8E1F6E}"/>
              </a:ext>
            </a:extLst>
          </p:cNvPr>
          <p:cNvSpPr>
            <a:spLocks noGrp="1"/>
          </p:cNvSpPr>
          <p:nvPr>
            <p:ph type="body" sz="quarter" idx="20" hasCustomPrompt="1"/>
          </p:nvPr>
        </p:nvSpPr>
        <p:spPr>
          <a:xfrm>
            <a:off x="8186614" y="1596685"/>
            <a:ext cx="3424665"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7" name="Slide Number Placeholder 5">
            <a:extLst>
              <a:ext uri="{FF2B5EF4-FFF2-40B4-BE49-F238E27FC236}">
                <a16:creationId xmlns:a16="http://schemas.microsoft.com/office/drawing/2014/main" id="{1AFE7B8F-7F45-5C76-D681-C0FD15025086}"/>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6">
            <a:extLst>
              <a:ext uri="{FF2B5EF4-FFF2-40B4-BE49-F238E27FC236}">
                <a16:creationId xmlns:a16="http://schemas.microsoft.com/office/drawing/2014/main" id="{8CA9B654-1BE5-DBA7-F247-4B5E75F3024E}"/>
              </a:ext>
            </a:extLst>
          </p:cNvPr>
          <p:cNvSpPr>
            <a:spLocks noGrp="1"/>
          </p:cNvSpPr>
          <p:nvPr>
            <p:ph type="body" sz="quarter" idx="21"/>
          </p:nvPr>
        </p:nvSpPr>
        <p:spPr>
          <a:xfrm>
            <a:off x="601664" y="2019567"/>
            <a:ext cx="3424662"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6">
            <a:extLst>
              <a:ext uri="{FF2B5EF4-FFF2-40B4-BE49-F238E27FC236}">
                <a16:creationId xmlns:a16="http://schemas.microsoft.com/office/drawing/2014/main" id="{3D2F6F19-618C-A921-A149-978EA0A701EF}"/>
              </a:ext>
            </a:extLst>
          </p:cNvPr>
          <p:cNvSpPr>
            <a:spLocks noGrp="1"/>
          </p:cNvSpPr>
          <p:nvPr>
            <p:ph type="body" sz="quarter" idx="22"/>
          </p:nvPr>
        </p:nvSpPr>
        <p:spPr>
          <a:xfrm>
            <a:off x="4394141" y="2019567"/>
            <a:ext cx="3424662"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DE522533-43EC-14E2-FD3B-4ED64D088617}"/>
              </a:ext>
            </a:extLst>
          </p:cNvPr>
          <p:cNvSpPr>
            <a:spLocks noGrp="1"/>
          </p:cNvSpPr>
          <p:nvPr>
            <p:ph type="body" sz="quarter" idx="23"/>
          </p:nvPr>
        </p:nvSpPr>
        <p:spPr>
          <a:xfrm>
            <a:off x="8186617" y="2019567"/>
            <a:ext cx="3424662" cy="3168650"/>
          </a:xfrm>
        </p:spPr>
        <p:txBody>
          <a:bodyPr/>
          <a:lstStyle>
            <a:lvl1pPr marL="287100" indent="-285750">
              <a:buClr>
                <a:schemeClr val="accent1"/>
              </a:buClr>
              <a:buFont typeface="Arial" panose="020B0604020202020204" pitchFamily="34" charset="0"/>
              <a:buChar char="•"/>
              <a:defRPr b="0" i="0">
                <a:solidFill>
                  <a:schemeClr val="bg1"/>
                </a:solidFill>
                <a:latin typeface="+mn-lt"/>
              </a:defRPr>
            </a:lvl1pPr>
            <a:lvl2pPr marL="720000" indent="-284400">
              <a:buClr>
                <a:schemeClr val="accent1"/>
              </a:buClr>
              <a:buFont typeface="Courier New" panose="02070309020205020404" pitchFamily="49" charset="0"/>
              <a:buChar char="o"/>
              <a:tabLst/>
              <a:defRPr b="0">
                <a:solidFill>
                  <a:schemeClr val="bg1"/>
                </a:solidFill>
                <a:latin typeface="+mn-lt"/>
              </a:defRPr>
            </a:lvl2pPr>
            <a:lvl3pPr marL="1080000" indent="-284400">
              <a:buClr>
                <a:schemeClr val="accent1"/>
              </a:buClr>
              <a:buFont typeface="Wingdings" pitchFamily="2" charset="2"/>
              <a:buChar char="§"/>
              <a:tabLst/>
              <a:defRPr b="0">
                <a:solidFill>
                  <a:schemeClr val="bg1"/>
                </a:solidFill>
                <a:latin typeface="+mn-lt"/>
              </a:defRPr>
            </a:lvl3pPr>
            <a:lvl4pPr marL="1440000" indent="-284400">
              <a:buClr>
                <a:schemeClr val="accent1"/>
              </a:buClr>
              <a:buFont typeface="System Font Regular"/>
              <a:buChar char="—"/>
              <a:tabLst/>
              <a:defRPr b="0">
                <a:solidFill>
                  <a:schemeClr val="bg1"/>
                </a:solidFill>
                <a:latin typeface="+mn-lt"/>
              </a:defRPr>
            </a:lvl4pPr>
            <a:lvl5pPr marL="1800000" indent="-284400">
              <a:buClr>
                <a:schemeClr val="accent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97667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Col Text + Headline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3" name="Freeform 2">
            <a:extLst>
              <a:ext uri="{FF2B5EF4-FFF2-40B4-BE49-F238E27FC236}">
                <a16:creationId xmlns:a16="http://schemas.microsoft.com/office/drawing/2014/main" id="{10694141-97F0-CBE3-BE54-8209CE0A85D9}"/>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9" name="Text Placeholder 6">
            <a:extLst>
              <a:ext uri="{FF2B5EF4-FFF2-40B4-BE49-F238E27FC236}">
                <a16:creationId xmlns:a16="http://schemas.microsoft.com/office/drawing/2014/main" id="{11C77F68-A38E-9F1C-2817-309D5AD4D3F0}"/>
              </a:ext>
            </a:extLst>
          </p:cNvPr>
          <p:cNvSpPr>
            <a:spLocks noGrp="1"/>
          </p:cNvSpPr>
          <p:nvPr>
            <p:ph type="body" sz="quarter" idx="16" hasCustomPrompt="1"/>
          </p:nvPr>
        </p:nvSpPr>
        <p:spPr>
          <a:xfrm>
            <a:off x="601662" y="1596685"/>
            <a:ext cx="3424665" cy="357659"/>
          </a:xfrm>
        </p:spPr>
        <p:txBody>
          <a:bodyPr anchor="b">
            <a:noAutofit/>
          </a:bodyPr>
          <a:lstStyle>
            <a:lvl1pPr>
              <a:lnSpc>
                <a:spcPct val="80000"/>
              </a:lnSpc>
              <a:buClr>
                <a:schemeClr val="bg1"/>
              </a:buClr>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1" name="Text Placeholder 6">
            <a:extLst>
              <a:ext uri="{FF2B5EF4-FFF2-40B4-BE49-F238E27FC236}">
                <a16:creationId xmlns:a16="http://schemas.microsoft.com/office/drawing/2014/main" id="{BA68A3FC-A989-D2DF-7AF9-BC4275A2D4F5}"/>
              </a:ext>
            </a:extLst>
          </p:cNvPr>
          <p:cNvSpPr>
            <a:spLocks noGrp="1"/>
          </p:cNvSpPr>
          <p:nvPr>
            <p:ph type="body" sz="quarter" idx="18" hasCustomPrompt="1"/>
          </p:nvPr>
        </p:nvSpPr>
        <p:spPr>
          <a:xfrm>
            <a:off x="4394138" y="1596685"/>
            <a:ext cx="3424665" cy="357659"/>
          </a:xfrm>
        </p:spPr>
        <p:txBody>
          <a:bodyPr anchor="b">
            <a:noAutofit/>
          </a:bodyPr>
          <a:lstStyle>
            <a:lvl1pPr>
              <a:lnSpc>
                <a:spcPct val="80000"/>
              </a:lnSpc>
              <a:buClr>
                <a:schemeClr val="bg1"/>
              </a:buClr>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7" name="Text Placeholder 6">
            <a:extLst>
              <a:ext uri="{FF2B5EF4-FFF2-40B4-BE49-F238E27FC236}">
                <a16:creationId xmlns:a16="http://schemas.microsoft.com/office/drawing/2014/main" id="{B60A99C5-DA80-3F86-9E4C-D42B738CCA23}"/>
              </a:ext>
            </a:extLst>
          </p:cNvPr>
          <p:cNvSpPr>
            <a:spLocks noGrp="1"/>
          </p:cNvSpPr>
          <p:nvPr>
            <p:ph type="body" sz="quarter" idx="20" hasCustomPrompt="1"/>
          </p:nvPr>
        </p:nvSpPr>
        <p:spPr>
          <a:xfrm>
            <a:off x="8186614" y="1596685"/>
            <a:ext cx="3424665" cy="357659"/>
          </a:xfrm>
        </p:spPr>
        <p:txBody>
          <a:bodyPr anchor="b">
            <a:noAutofit/>
          </a:bodyPr>
          <a:lstStyle>
            <a:lvl1pPr>
              <a:lnSpc>
                <a:spcPct val="80000"/>
              </a:lnSpc>
              <a:buClr>
                <a:schemeClr val="bg1"/>
              </a:buClr>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a:t>
            </a:r>
            <a:br>
              <a:rPr lang="en-US"/>
            </a:br>
            <a:r>
              <a:rPr lang="en-US"/>
              <a:t>Master text styles</a:t>
            </a:r>
          </a:p>
        </p:txBody>
      </p:sp>
      <p:sp>
        <p:nvSpPr>
          <p:cNvPr id="19" name="Slide Number Placeholder 5">
            <a:extLst>
              <a:ext uri="{FF2B5EF4-FFF2-40B4-BE49-F238E27FC236}">
                <a16:creationId xmlns:a16="http://schemas.microsoft.com/office/drawing/2014/main" id="{A20A79AA-2FB1-CCA2-D7E9-3901F45D0F9F}"/>
              </a:ext>
            </a:extLst>
          </p:cNvPr>
          <p:cNvSpPr>
            <a:spLocks noGrp="1"/>
          </p:cNvSpPr>
          <p:nvPr>
            <p:ph type="sldNum" sz="quarter" idx="12"/>
          </p:nvPr>
        </p:nvSpPr>
        <p:spPr>
          <a:xfrm>
            <a:off x="601663" y="6400542"/>
            <a:ext cx="594620" cy="184666"/>
          </a:xfrm>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6">
            <a:extLst>
              <a:ext uri="{FF2B5EF4-FFF2-40B4-BE49-F238E27FC236}">
                <a16:creationId xmlns:a16="http://schemas.microsoft.com/office/drawing/2014/main" id="{1ADA3421-D534-1F0D-AF20-FF4F4482EEE4}"/>
              </a:ext>
            </a:extLst>
          </p:cNvPr>
          <p:cNvSpPr>
            <a:spLocks noGrp="1"/>
          </p:cNvSpPr>
          <p:nvPr>
            <p:ph type="body" sz="quarter" idx="21"/>
          </p:nvPr>
        </p:nvSpPr>
        <p:spPr>
          <a:xfrm>
            <a:off x="601664" y="2019567"/>
            <a:ext cx="3424662"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6">
            <a:extLst>
              <a:ext uri="{FF2B5EF4-FFF2-40B4-BE49-F238E27FC236}">
                <a16:creationId xmlns:a16="http://schemas.microsoft.com/office/drawing/2014/main" id="{8B8DF441-756B-BB65-608B-E102DBBDAEC8}"/>
              </a:ext>
            </a:extLst>
          </p:cNvPr>
          <p:cNvSpPr>
            <a:spLocks noGrp="1"/>
          </p:cNvSpPr>
          <p:nvPr>
            <p:ph type="body" sz="quarter" idx="22"/>
          </p:nvPr>
        </p:nvSpPr>
        <p:spPr>
          <a:xfrm>
            <a:off x="4394141" y="2019567"/>
            <a:ext cx="3424662"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68FDD257-70ED-1A42-654F-246BEFED20A3}"/>
              </a:ext>
            </a:extLst>
          </p:cNvPr>
          <p:cNvSpPr>
            <a:spLocks noGrp="1"/>
          </p:cNvSpPr>
          <p:nvPr>
            <p:ph type="body" sz="quarter" idx="23"/>
          </p:nvPr>
        </p:nvSpPr>
        <p:spPr>
          <a:xfrm>
            <a:off x="8186617" y="2019567"/>
            <a:ext cx="3424662" cy="3168650"/>
          </a:xfrm>
        </p:spPr>
        <p:txBody>
          <a:bodyPr/>
          <a:lstStyle>
            <a:lvl1pPr marL="287100" indent="-285750">
              <a:buClr>
                <a:schemeClr val="bg1"/>
              </a:buClr>
              <a:buFont typeface="Arial" panose="020B0604020202020204" pitchFamily="34" charset="0"/>
              <a:buChar char="•"/>
              <a:defRPr b="0" i="0">
                <a:solidFill>
                  <a:schemeClr val="bg1"/>
                </a:solidFill>
                <a:latin typeface="+mn-lt"/>
              </a:defRPr>
            </a:lvl1pPr>
            <a:lvl2pPr marL="720000" indent="-284400">
              <a:buClr>
                <a:schemeClr val="bg1"/>
              </a:buClr>
              <a:buFont typeface="Courier New" panose="02070309020205020404" pitchFamily="49" charset="0"/>
              <a:buChar char="o"/>
              <a:tabLst/>
              <a:defRPr b="0">
                <a:solidFill>
                  <a:schemeClr val="bg1"/>
                </a:solidFill>
                <a:latin typeface="+mn-lt"/>
              </a:defRPr>
            </a:lvl2pPr>
            <a:lvl3pPr marL="1080000" indent="-284400">
              <a:buClr>
                <a:schemeClr val="bg1"/>
              </a:buClr>
              <a:buFont typeface="Wingdings" pitchFamily="2" charset="2"/>
              <a:buChar char="§"/>
              <a:tabLst/>
              <a:defRPr b="0">
                <a:solidFill>
                  <a:schemeClr val="bg1"/>
                </a:solidFill>
                <a:latin typeface="+mn-lt"/>
              </a:defRPr>
            </a:lvl3pPr>
            <a:lvl4pPr marL="1440000" indent="-284400">
              <a:buClr>
                <a:schemeClr val="bg1"/>
              </a:buClr>
              <a:buFont typeface="System Font Regular"/>
              <a:buChar char="—"/>
              <a:tabLst/>
              <a:defRPr b="0">
                <a:solidFill>
                  <a:schemeClr val="bg1"/>
                </a:solidFill>
                <a:latin typeface="+mn-lt"/>
              </a:defRPr>
            </a:lvl4pPr>
            <a:lvl5pPr marL="1800000" indent="-284400">
              <a:buClr>
                <a:schemeClr val="bg1"/>
              </a:buClr>
              <a:buFont typeface="Arial" panose="020B0604020202020204" pitchFamily="34" charset="0"/>
              <a:buChar char="•"/>
              <a:tabLst/>
              <a:defRPr b="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5653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Col Text + Stats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5" name="Text Placeholder 6">
            <a:extLst>
              <a:ext uri="{FF2B5EF4-FFF2-40B4-BE49-F238E27FC236}">
                <a16:creationId xmlns:a16="http://schemas.microsoft.com/office/drawing/2014/main" id="{5F48D340-284F-FB44-5207-43B452CAF0B1}"/>
              </a:ext>
            </a:extLst>
          </p:cNvPr>
          <p:cNvSpPr>
            <a:spLocks noGrp="1"/>
          </p:cNvSpPr>
          <p:nvPr>
            <p:ph type="body" sz="quarter" idx="14"/>
          </p:nvPr>
        </p:nvSpPr>
        <p:spPr>
          <a:xfrm>
            <a:off x="601663" y="3381632"/>
            <a:ext cx="3424663" cy="1551875"/>
          </a:xfrm>
        </p:spPr>
        <p:txBody>
          <a:bodyPr>
            <a:noAutofit/>
          </a:bodyPr>
          <a:lstStyle>
            <a:lvl1pPr>
              <a:defRPr b="0" i="0">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8" name="Text Placeholder 6">
            <a:extLst>
              <a:ext uri="{FF2B5EF4-FFF2-40B4-BE49-F238E27FC236}">
                <a16:creationId xmlns:a16="http://schemas.microsoft.com/office/drawing/2014/main" id="{4B4C9D6E-45E5-E0D1-AF17-C0BD25271EEA}"/>
              </a:ext>
            </a:extLst>
          </p:cNvPr>
          <p:cNvSpPr>
            <a:spLocks noGrp="1"/>
          </p:cNvSpPr>
          <p:nvPr>
            <p:ph type="body" sz="quarter" idx="16" hasCustomPrompt="1"/>
          </p:nvPr>
        </p:nvSpPr>
        <p:spPr>
          <a:xfrm>
            <a:off x="601662" y="2958750"/>
            <a:ext cx="3424665" cy="357659"/>
          </a:xfrm>
        </p:spPr>
        <p:txBody>
          <a:bodyPr anchor="b">
            <a:noAutofit/>
          </a:bodyPr>
          <a:lstStyle>
            <a:lvl1pPr>
              <a:lnSpc>
                <a:spcPct val="80000"/>
              </a:lnSpc>
              <a:defRPr sz="8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13" name="Text Placeholder 6">
            <a:extLst>
              <a:ext uri="{FF2B5EF4-FFF2-40B4-BE49-F238E27FC236}">
                <a16:creationId xmlns:a16="http://schemas.microsoft.com/office/drawing/2014/main" id="{777D24F7-7096-FAEA-664B-45A2FEDF73E9}"/>
              </a:ext>
            </a:extLst>
          </p:cNvPr>
          <p:cNvSpPr>
            <a:spLocks noGrp="1"/>
          </p:cNvSpPr>
          <p:nvPr>
            <p:ph type="body" sz="quarter" idx="17"/>
          </p:nvPr>
        </p:nvSpPr>
        <p:spPr>
          <a:xfrm>
            <a:off x="4394139" y="3381632"/>
            <a:ext cx="3424663" cy="1551875"/>
          </a:xfrm>
        </p:spPr>
        <p:txBody>
          <a:bodyPr>
            <a:noAutofit/>
          </a:bodyPr>
          <a:lstStyle>
            <a:lvl1pPr>
              <a:defRPr b="0" i="0">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14" name="Text Placeholder 6">
            <a:extLst>
              <a:ext uri="{FF2B5EF4-FFF2-40B4-BE49-F238E27FC236}">
                <a16:creationId xmlns:a16="http://schemas.microsoft.com/office/drawing/2014/main" id="{138BF081-1F71-D245-307D-C99B2BEBFD0C}"/>
              </a:ext>
            </a:extLst>
          </p:cNvPr>
          <p:cNvSpPr>
            <a:spLocks noGrp="1"/>
          </p:cNvSpPr>
          <p:nvPr>
            <p:ph type="body" sz="quarter" idx="18" hasCustomPrompt="1"/>
          </p:nvPr>
        </p:nvSpPr>
        <p:spPr>
          <a:xfrm>
            <a:off x="4394138" y="2958750"/>
            <a:ext cx="3424665" cy="357659"/>
          </a:xfrm>
        </p:spPr>
        <p:txBody>
          <a:bodyPr anchor="b">
            <a:noAutofit/>
          </a:bodyPr>
          <a:lstStyle>
            <a:lvl1pPr>
              <a:lnSpc>
                <a:spcPct val="80000"/>
              </a:lnSpc>
              <a:defRPr sz="8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15" name="Text Placeholder 6">
            <a:extLst>
              <a:ext uri="{FF2B5EF4-FFF2-40B4-BE49-F238E27FC236}">
                <a16:creationId xmlns:a16="http://schemas.microsoft.com/office/drawing/2014/main" id="{3F4608A6-7A3F-2674-6FC2-C7E709FA3F24}"/>
              </a:ext>
            </a:extLst>
          </p:cNvPr>
          <p:cNvSpPr>
            <a:spLocks noGrp="1"/>
          </p:cNvSpPr>
          <p:nvPr>
            <p:ph type="body" sz="quarter" idx="19"/>
          </p:nvPr>
        </p:nvSpPr>
        <p:spPr>
          <a:xfrm>
            <a:off x="8186615" y="3381632"/>
            <a:ext cx="3424663" cy="1551875"/>
          </a:xfrm>
        </p:spPr>
        <p:txBody>
          <a:bodyPr>
            <a:noAutofit/>
          </a:bodyPr>
          <a:lstStyle>
            <a:lvl1pPr>
              <a:defRPr b="0" i="0">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16" name="Text Placeholder 6">
            <a:extLst>
              <a:ext uri="{FF2B5EF4-FFF2-40B4-BE49-F238E27FC236}">
                <a16:creationId xmlns:a16="http://schemas.microsoft.com/office/drawing/2014/main" id="{9B1F9FF7-9B48-165F-557D-771378EDCA48}"/>
              </a:ext>
            </a:extLst>
          </p:cNvPr>
          <p:cNvSpPr>
            <a:spLocks noGrp="1"/>
          </p:cNvSpPr>
          <p:nvPr>
            <p:ph type="body" sz="quarter" idx="20" hasCustomPrompt="1"/>
          </p:nvPr>
        </p:nvSpPr>
        <p:spPr>
          <a:xfrm>
            <a:off x="8186614" y="2958750"/>
            <a:ext cx="3424665" cy="357659"/>
          </a:xfrm>
        </p:spPr>
        <p:txBody>
          <a:bodyPr anchor="b">
            <a:noAutofit/>
          </a:bodyPr>
          <a:lstStyle>
            <a:lvl1pPr>
              <a:lnSpc>
                <a:spcPct val="80000"/>
              </a:lnSpc>
              <a:defRPr sz="8000" b="1" i="0">
                <a:solidFill>
                  <a:schemeClr val="tx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Tree>
    <p:extLst>
      <p:ext uri="{BB962C8B-B14F-4D97-AF65-F5344CB8AC3E}">
        <p14:creationId xmlns:p14="http://schemas.microsoft.com/office/powerpoint/2010/main" val="1813657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 1 Char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01663" y="1354137"/>
            <a:ext cx="10996611" cy="4751387"/>
          </a:xfrm>
        </p:spPr>
        <p:txBody>
          <a:bodyPr anchor="ctr"/>
          <a:lstStyle>
            <a:lvl1pPr algn="ctr">
              <a:defRPr>
                <a:solidFill>
                  <a:schemeClr val="bg1"/>
                </a:solidFill>
              </a:defRPr>
            </a:lvl1pPr>
          </a:lstStyle>
          <a:p>
            <a:r>
              <a:rPr lang="en-US"/>
              <a:t>Click icon to add chart</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4132897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Col Text + Stat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8" name="Text Placeholder 6">
            <a:extLst>
              <a:ext uri="{FF2B5EF4-FFF2-40B4-BE49-F238E27FC236}">
                <a16:creationId xmlns:a16="http://schemas.microsoft.com/office/drawing/2014/main" id="{7C7D8AFF-20E6-8531-C409-E5920CE802A2}"/>
              </a:ext>
            </a:extLst>
          </p:cNvPr>
          <p:cNvSpPr>
            <a:spLocks noGrp="1"/>
          </p:cNvSpPr>
          <p:nvPr>
            <p:ph type="body" sz="quarter" idx="16" hasCustomPrompt="1"/>
          </p:nvPr>
        </p:nvSpPr>
        <p:spPr>
          <a:xfrm>
            <a:off x="601662"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20" name="Text Placeholder 6">
            <a:extLst>
              <a:ext uri="{FF2B5EF4-FFF2-40B4-BE49-F238E27FC236}">
                <a16:creationId xmlns:a16="http://schemas.microsoft.com/office/drawing/2014/main" id="{048F8B89-252E-4AEF-5711-C787802A96D3}"/>
              </a:ext>
            </a:extLst>
          </p:cNvPr>
          <p:cNvSpPr>
            <a:spLocks noGrp="1"/>
          </p:cNvSpPr>
          <p:nvPr>
            <p:ph type="body" sz="quarter" idx="18" hasCustomPrompt="1"/>
          </p:nvPr>
        </p:nvSpPr>
        <p:spPr>
          <a:xfrm>
            <a:off x="4394138"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22" name="Text Placeholder 6">
            <a:extLst>
              <a:ext uri="{FF2B5EF4-FFF2-40B4-BE49-F238E27FC236}">
                <a16:creationId xmlns:a16="http://schemas.microsoft.com/office/drawing/2014/main" id="{4BF0F708-31D2-CB77-D7DB-8FD866B084E8}"/>
              </a:ext>
            </a:extLst>
          </p:cNvPr>
          <p:cNvSpPr>
            <a:spLocks noGrp="1"/>
          </p:cNvSpPr>
          <p:nvPr>
            <p:ph type="body" sz="quarter" idx="20" hasCustomPrompt="1"/>
          </p:nvPr>
        </p:nvSpPr>
        <p:spPr>
          <a:xfrm>
            <a:off x="8186614"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23" name="Text Placeholder 6">
            <a:extLst>
              <a:ext uri="{FF2B5EF4-FFF2-40B4-BE49-F238E27FC236}">
                <a16:creationId xmlns:a16="http://schemas.microsoft.com/office/drawing/2014/main" id="{CAC28203-6843-88F7-F72C-528AF5A137CF}"/>
              </a:ext>
            </a:extLst>
          </p:cNvPr>
          <p:cNvSpPr>
            <a:spLocks noGrp="1"/>
          </p:cNvSpPr>
          <p:nvPr>
            <p:ph type="body" sz="quarter" idx="14"/>
          </p:nvPr>
        </p:nvSpPr>
        <p:spPr>
          <a:xfrm>
            <a:off x="601663"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24" name="Text Placeholder 6">
            <a:extLst>
              <a:ext uri="{FF2B5EF4-FFF2-40B4-BE49-F238E27FC236}">
                <a16:creationId xmlns:a16="http://schemas.microsoft.com/office/drawing/2014/main" id="{69A63F26-56AB-A14E-FE5B-8DF8A2109E28}"/>
              </a:ext>
            </a:extLst>
          </p:cNvPr>
          <p:cNvSpPr>
            <a:spLocks noGrp="1"/>
          </p:cNvSpPr>
          <p:nvPr>
            <p:ph type="body" sz="quarter" idx="17"/>
          </p:nvPr>
        </p:nvSpPr>
        <p:spPr>
          <a:xfrm>
            <a:off x="4394139"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25" name="Text Placeholder 6">
            <a:extLst>
              <a:ext uri="{FF2B5EF4-FFF2-40B4-BE49-F238E27FC236}">
                <a16:creationId xmlns:a16="http://schemas.microsoft.com/office/drawing/2014/main" id="{46FA527E-70FB-2F4E-4E16-0D4F9C95D1CE}"/>
              </a:ext>
            </a:extLst>
          </p:cNvPr>
          <p:cNvSpPr>
            <a:spLocks noGrp="1"/>
          </p:cNvSpPr>
          <p:nvPr>
            <p:ph type="body" sz="quarter" idx="19"/>
          </p:nvPr>
        </p:nvSpPr>
        <p:spPr>
          <a:xfrm>
            <a:off x="8186615"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Tree>
    <p:extLst>
      <p:ext uri="{BB962C8B-B14F-4D97-AF65-F5344CB8AC3E}">
        <p14:creationId xmlns:p14="http://schemas.microsoft.com/office/powerpoint/2010/main" val="40451623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 Text + Stat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3" name="Freeform 2">
            <a:extLst>
              <a:ext uri="{FF2B5EF4-FFF2-40B4-BE49-F238E27FC236}">
                <a16:creationId xmlns:a16="http://schemas.microsoft.com/office/drawing/2014/main" id="{F15BE880-4E41-FFDA-827D-7EB133DD4184}"/>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27" name="Text Placeholder 6">
            <a:extLst>
              <a:ext uri="{FF2B5EF4-FFF2-40B4-BE49-F238E27FC236}">
                <a16:creationId xmlns:a16="http://schemas.microsoft.com/office/drawing/2014/main" id="{A1F0D9F0-AF0F-9F3C-F615-F955530AF568}"/>
              </a:ext>
            </a:extLst>
          </p:cNvPr>
          <p:cNvSpPr>
            <a:spLocks noGrp="1"/>
          </p:cNvSpPr>
          <p:nvPr>
            <p:ph type="body" sz="quarter" idx="16" hasCustomPrompt="1"/>
          </p:nvPr>
        </p:nvSpPr>
        <p:spPr>
          <a:xfrm>
            <a:off x="601662"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28" name="Text Placeholder 6">
            <a:extLst>
              <a:ext uri="{FF2B5EF4-FFF2-40B4-BE49-F238E27FC236}">
                <a16:creationId xmlns:a16="http://schemas.microsoft.com/office/drawing/2014/main" id="{7C0D918A-7EE2-90B5-3BC7-827F31522E6C}"/>
              </a:ext>
            </a:extLst>
          </p:cNvPr>
          <p:cNvSpPr>
            <a:spLocks noGrp="1"/>
          </p:cNvSpPr>
          <p:nvPr>
            <p:ph type="body" sz="quarter" idx="18" hasCustomPrompt="1"/>
          </p:nvPr>
        </p:nvSpPr>
        <p:spPr>
          <a:xfrm>
            <a:off x="4394138"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29" name="Text Placeholder 6">
            <a:extLst>
              <a:ext uri="{FF2B5EF4-FFF2-40B4-BE49-F238E27FC236}">
                <a16:creationId xmlns:a16="http://schemas.microsoft.com/office/drawing/2014/main" id="{F197F1D0-8F8A-12D5-3E21-5A43957E0391}"/>
              </a:ext>
            </a:extLst>
          </p:cNvPr>
          <p:cNvSpPr>
            <a:spLocks noGrp="1"/>
          </p:cNvSpPr>
          <p:nvPr>
            <p:ph type="body" sz="quarter" idx="20" hasCustomPrompt="1"/>
          </p:nvPr>
        </p:nvSpPr>
        <p:spPr>
          <a:xfrm>
            <a:off x="8186614" y="2958750"/>
            <a:ext cx="3424665" cy="357659"/>
          </a:xfrm>
        </p:spPr>
        <p:txBody>
          <a:bodyPr anchor="b">
            <a:noAutofit/>
          </a:bodyPr>
          <a:lstStyle>
            <a:lvl1pPr>
              <a:lnSpc>
                <a:spcPct val="80000"/>
              </a:lnSpc>
              <a:defRPr sz="8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XX%</a:t>
            </a:r>
          </a:p>
        </p:txBody>
      </p:sp>
      <p:sp>
        <p:nvSpPr>
          <p:cNvPr id="30" name="Text Placeholder 6">
            <a:extLst>
              <a:ext uri="{FF2B5EF4-FFF2-40B4-BE49-F238E27FC236}">
                <a16:creationId xmlns:a16="http://schemas.microsoft.com/office/drawing/2014/main" id="{4BCA72DF-BB34-081A-B507-686ECA4DB15F}"/>
              </a:ext>
            </a:extLst>
          </p:cNvPr>
          <p:cNvSpPr>
            <a:spLocks noGrp="1"/>
          </p:cNvSpPr>
          <p:nvPr>
            <p:ph type="body" sz="quarter" idx="14"/>
          </p:nvPr>
        </p:nvSpPr>
        <p:spPr>
          <a:xfrm>
            <a:off x="601663"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31" name="Text Placeholder 6">
            <a:extLst>
              <a:ext uri="{FF2B5EF4-FFF2-40B4-BE49-F238E27FC236}">
                <a16:creationId xmlns:a16="http://schemas.microsoft.com/office/drawing/2014/main" id="{9608C9BB-E7B8-E1DA-5A1C-BEBB56B509D2}"/>
              </a:ext>
            </a:extLst>
          </p:cNvPr>
          <p:cNvSpPr>
            <a:spLocks noGrp="1"/>
          </p:cNvSpPr>
          <p:nvPr>
            <p:ph type="body" sz="quarter" idx="17"/>
          </p:nvPr>
        </p:nvSpPr>
        <p:spPr>
          <a:xfrm>
            <a:off x="4394139"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
        <p:nvSpPr>
          <p:cNvPr id="32" name="Text Placeholder 6">
            <a:extLst>
              <a:ext uri="{FF2B5EF4-FFF2-40B4-BE49-F238E27FC236}">
                <a16:creationId xmlns:a16="http://schemas.microsoft.com/office/drawing/2014/main" id="{C2BF97D1-B80F-3419-6015-7F2AC18E4F85}"/>
              </a:ext>
            </a:extLst>
          </p:cNvPr>
          <p:cNvSpPr>
            <a:spLocks noGrp="1"/>
          </p:cNvSpPr>
          <p:nvPr>
            <p:ph type="body" sz="quarter" idx="19"/>
          </p:nvPr>
        </p:nvSpPr>
        <p:spPr>
          <a:xfrm>
            <a:off x="8186615" y="3381632"/>
            <a:ext cx="3424663" cy="1551875"/>
          </a:xfrm>
        </p:spPr>
        <p:txBody>
          <a:bodyPr>
            <a:noAutofit/>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a:lvl2pPr>
            <a:lvl3pPr marL="720000" indent="-173038">
              <a:buClr>
                <a:schemeClr val="accent1"/>
              </a:buClr>
              <a:buFont typeface="Courier New" panose="02070309020205020404" pitchFamily="49" charset="0"/>
              <a:buChar char="o"/>
              <a:tabLst/>
              <a:defRPr/>
            </a:lvl3pPr>
            <a:lvl4pPr marL="1080000" indent="-173038">
              <a:buClr>
                <a:schemeClr val="accent1"/>
              </a:buClr>
              <a:buFont typeface="Wingdings" pitchFamily="2" charset="2"/>
              <a:buChar char="§"/>
              <a:tabLst/>
              <a:defRPr/>
            </a:lvl4pPr>
            <a:lvl5pPr marL="1440000" indent="-173038">
              <a:buClr>
                <a:schemeClr val="accent1"/>
              </a:buClr>
              <a:buFont typeface="Arial" panose="020B0604020202020204" pitchFamily="34" charset="0"/>
              <a:buChar char="•"/>
              <a:tabLst/>
              <a:defRPr/>
            </a:lvl5pPr>
          </a:lstStyle>
          <a:p>
            <a:pPr lvl="0"/>
            <a:r>
              <a:rPr lang="en-US"/>
              <a:t>Click to edit Master text styles</a:t>
            </a:r>
          </a:p>
        </p:txBody>
      </p:sp>
    </p:spTree>
    <p:extLst>
      <p:ext uri="{BB962C8B-B14F-4D97-AF65-F5344CB8AC3E}">
        <p14:creationId xmlns:p14="http://schemas.microsoft.com/office/powerpoint/2010/main" val="11044416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 Headline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cxnSp>
        <p:nvCxnSpPr>
          <p:cNvPr id="18" name="Google Shape;295;p35">
            <a:extLst>
              <a:ext uri="{FF2B5EF4-FFF2-40B4-BE49-F238E27FC236}">
                <a16:creationId xmlns:a16="http://schemas.microsoft.com/office/drawing/2014/main" id="{3D6E9F33-82E4-C38D-E8C9-5FE050C1BC65}"/>
              </a:ext>
            </a:extLst>
          </p:cNvPr>
          <p:cNvCxnSpPr>
            <a:cxnSpLocks/>
          </p:cNvCxnSpPr>
          <p:nvPr userDrawn="1"/>
        </p:nvCxnSpPr>
        <p:spPr>
          <a:xfrm>
            <a:off x="4197079" y="1647288"/>
            <a:ext cx="0" cy="3563423"/>
          </a:xfrm>
          <a:prstGeom prst="straightConnector1">
            <a:avLst/>
          </a:prstGeom>
          <a:noFill/>
          <a:ln w="28575" cap="flat" cmpd="sng">
            <a:solidFill>
              <a:schemeClr val="bg1"/>
            </a:solidFill>
            <a:prstDash val="solid"/>
            <a:round/>
            <a:headEnd type="none" w="med" len="med"/>
            <a:tailEnd type="none" w="med" len="med"/>
          </a:ln>
        </p:spPr>
      </p:cxnSp>
      <p:cxnSp>
        <p:nvCxnSpPr>
          <p:cNvPr id="20" name="Google Shape;295;p35">
            <a:extLst>
              <a:ext uri="{FF2B5EF4-FFF2-40B4-BE49-F238E27FC236}">
                <a16:creationId xmlns:a16="http://schemas.microsoft.com/office/drawing/2014/main" id="{576DF71A-7024-C635-8719-351D054EFC4D}"/>
              </a:ext>
            </a:extLst>
          </p:cNvPr>
          <p:cNvCxnSpPr>
            <a:cxnSpLocks/>
          </p:cNvCxnSpPr>
          <p:nvPr userDrawn="1"/>
        </p:nvCxnSpPr>
        <p:spPr>
          <a:xfrm>
            <a:off x="7994921" y="1647288"/>
            <a:ext cx="0" cy="3563423"/>
          </a:xfrm>
          <a:prstGeom prst="straightConnector1">
            <a:avLst/>
          </a:prstGeom>
          <a:noFill/>
          <a:ln w="28575" cap="flat" cmpd="sng">
            <a:solidFill>
              <a:schemeClr val="bg1"/>
            </a:solidFill>
            <a:prstDash val="solid"/>
            <a:round/>
            <a:headEnd type="none" w="med" len="med"/>
            <a:tailEnd type="none" w="med" len="med"/>
          </a:ln>
        </p:spPr>
      </p:cxnSp>
      <p:sp>
        <p:nvSpPr>
          <p:cNvPr id="3" name="Text Placeholder 8">
            <a:extLst>
              <a:ext uri="{FF2B5EF4-FFF2-40B4-BE49-F238E27FC236}">
                <a16:creationId xmlns:a16="http://schemas.microsoft.com/office/drawing/2014/main" id="{D1329704-F1A6-907B-2C9E-E10AFC0477A4}"/>
              </a:ext>
            </a:extLst>
          </p:cNvPr>
          <p:cNvSpPr>
            <a:spLocks noGrp="1"/>
          </p:cNvSpPr>
          <p:nvPr>
            <p:ph type="body" sz="quarter" idx="15"/>
          </p:nvPr>
        </p:nvSpPr>
        <p:spPr>
          <a:xfrm>
            <a:off x="601663"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 name="Text Placeholder 8">
            <a:extLst>
              <a:ext uri="{FF2B5EF4-FFF2-40B4-BE49-F238E27FC236}">
                <a16:creationId xmlns:a16="http://schemas.microsoft.com/office/drawing/2014/main" id="{FC3B6B01-DCBC-2D63-8F04-3F8BAD7151BF}"/>
              </a:ext>
            </a:extLst>
          </p:cNvPr>
          <p:cNvSpPr>
            <a:spLocks noGrp="1"/>
          </p:cNvSpPr>
          <p:nvPr>
            <p:ph type="body" sz="quarter" idx="16"/>
          </p:nvPr>
        </p:nvSpPr>
        <p:spPr>
          <a:xfrm>
            <a:off x="4475301"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5" name="Text Placeholder 8">
            <a:extLst>
              <a:ext uri="{FF2B5EF4-FFF2-40B4-BE49-F238E27FC236}">
                <a16:creationId xmlns:a16="http://schemas.microsoft.com/office/drawing/2014/main" id="{30023C66-A1C7-9287-016C-52F1D92EEF13}"/>
              </a:ext>
            </a:extLst>
          </p:cNvPr>
          <p:cNvSpPr>
            <a:spLocks noGrp="1"/>
          </p:cNvSpPr>
          <p:nvPr>
            <p:ph type="body" sz="quarter" idx="17"/>
          </p:nvPr>
        </p:nvSpPr>
        <p:spPr>
          <a:xfrm>
            <a:off x="8348939"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396F422F-6659-359E-36EB-EA0C4E19204C}"/>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183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 Headline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cxnSp>
        <p:nvCxnSpPr>
          <p:cNvPr id="18" name="Google Shape;295;p35">
            <a:extLst>
              <a:ext uri="{FF2B5EF4-FFF2-40B4-BE49-F238E27FC236}">
                <a16:creationId xmlns:a16="http://schemas.microsoft.com/office/drawing/2014/main" id="{3D6E9F33-82E4-C38D-E8C9-5FE050C1BC65}"/>
              </a:ext>
            </a:extLst>
          </p:cNvPr>
          <p:cNvCxnSpPr>
            <a:cxnSpLocks/>
          </p:cNvCxnSpPr>
          <p:nvPr userDrawn="1"/>
        </p:nvCxnSpPr>
        <p:spPr>
          <a:xfrm>
            <a:off x="4197079" y="1647288"/>
            <a:ext cx="0" cy="3563423"/>
          </a:xfrm>
          <a:prstGeom prst="straightConnector1">
            <a:avLst/>
          </a:prstGeom>
          <a:noFill/>
          <a:ln w="28575" cap="flat" cmpd="sng">
            <a:solidFill>
              <a:schemeClr val="bg1"/>
            </a:solidFill>
            <a:prstDash val="solid"/>
            <a:round/>
            <a:headEnd type="none" w="med" len="med"/>
            <a:tailEnd type="none" w="med" len="med"/>
          </a:ln>
        </p:spPr>
      </p:cxnSp>
      <p:cxnSp>
        <p:nvCxnSpPr>
          <p:cNvPr id="20" name="Google Shape;295;p35">
            <a:extLst>
              <a:ext uri="{FF2B5EF4-FFF2-40B4-BE49-F238E27FC236}">
                <a16:creationId xmlns:a16="http://schemas.microsoft.com/office/drawing/2014/main" id="{576DF71A-7024-C635-8719-351D054EFC4D}"/>
              </a:ext>
            </a:extLst>
          </p:cNvPr>
          <p:cNvCxnSpPr>
            <a:cxnSpLocks/>
          </p:cNvCxnSpPr>
          <p:nvPr userDrawn="1"/>
        </p:nvCxnSpPr>
        <p:spPr>
          <a:xfrm>
            <a:off x="7994921" y="1647288"/>
            <a:ext cx="0" cy="3563423"/>
          </a:xfrm>
          <a:prstGeom prst="straightConnector1">
            <a:avLst/>
          </a:prstGeom>
          <a:noFill/>
          <a:ln w="28575" cap="flat" cmpd="sng">
            <a:solidFill>
              <a:schemeClr val="bg1"/>
            </a:solidFill>
            <a:prstDash val="solid"/>
            <a:round/>
            <a:headEnd type="none" w="med" len="med"/>
            <a:tailEnd type="none" w="med" len="med"/>
          </a:ln>
        </p:spPr>
      </p:cxnSp>
      <p:sp>
        <p:nvSpPr>
          <p:cNvPr id="17" name="Freeform 16">
            <a:extLst>
              <a:ext uri="{FF2B5EF4-FFF2-40B4-BE49-F238E27FC236}">
                <a16:creationId xmlns:a16="http://schemas.microsoft.com/office/drawing/2014/main" id="{DF23F839-39C8-6626-C65C-E3AB88051F16}"/>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3" name="Text Placeholder 8">
            <a:extLst>
              <a:ext uri="{FF2B5EF4-FFF2-40B4-BE49-F238E27FC236}">
                <a16:creationId xmlns:a16="http://schemas.microsoft.com/office/drawing/2014/main" id="{DA7F974D-F686-55C2-D3B5-5A72460C590C}"/>
              </a:ext>
            </a:extLst>
          </p:cNvPr>
          <p:cNvSpPr>
            <a:spLocks noGrp="1"/>
          </p:cNvSpPr>
          <p:nvPr>
            <p:ph type="body" sz="quarter" idx="15"/>
          </p:nvPr>
        </p:nvSpPr>
        <p:spPr>
          <a:xfrm>
            <a:off x="601663"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4" name="Text Placeholder 8">
            <a:extLst>
              <a:ext uri="{FF2B5EF4-FFF2-40B4-BE49-F238E27FC236}">
                <a16:creationId xmlns:a16="http://schemas.microsoft.com/office/drawing/2014/main" id="{C65E8F7F-CF41-0197-1087-442E28EC38B8}"/>
              </a:ext>
            </a:extLst>
          </p:cNvPr>
          <p:cNvSpPr>
            <a:spLocks noGrp="1"/>
          </p:cNvSpPr>
          <p:nvPr>
            <p:ph type="body" sz="quarter" idx="16"/>
          </p:nvPr>
        </p:nvSpPr>
        <p:spPr>
          <a:xfrm>
            <a:off x="4475301"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5" name="Text Placeholder 8">
            <a:extLst>
              <a:ext uri="{FF2B5EF4-FFF2-40B4-BE49-F238E27FC236}">
                <a16:creationId xmlns:a16="http://schemas.microsoft.com/office/drawing/2014/main" id="{10208BD8-5C0A-7F0D-3AB8-FB40CF0D0F91}"/>
              </a:ext>
            </a:extLst>
          </p:cNvPr>
          <p:cNvSpPr>
            <a:spLocks noGrp="1"/>
          </p:cNvSpPr>
          <p:nvPr>
            <p:ph type="body" sz="quarter" idx="17"/>
          </p:nvPr>
        </p:nvSpPr>
        <p:spPr>
          <a:xfrm>
            <a:off x="8348939" y="1647288"/>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12011A13-E8A6-B9C8-A7E3-5A7FB25A4474}"/>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2637409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Statemen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9" name="Text Placeholder 8">
            <a:extLst>
              <a:ext uri="{FF2B5EF4-FFF2-40B4-BE49-F238E27FC236}">
                <a16:creationId xmlns:a16="http://schemas.microsoft.com/office/drawing/2014/main" id="{DB711D72-36CE-130E-23D1-226C7D720577}"/>
              </a:ext>
            </a:extLst>
          </p:cNvPr>
          <p:cNvSpPr>
            <a:spLocks noGrp="1"/>
          </p:cNvSpPr>
          <p:nvPr>
            <p:ph type="body" sz="quarter" idx="15" hasCustomPrompt="1"/>
          </p:nvPr>
        </p:nvSpPr>
        <p:spPr>
          <a:xfrm>
            <a:off x="601663" y="1647288"/>
            <a:ext cx="10996612" cy="3563423"/>
          </a:xfrm>
        </p:spPr>
        <p:txBody>
          <a:bodyPr lIns="0" tIns="0" rIns="0" bIns="0" anchor="ctr">
            <a:noAutofit/>
          </a:bodyPr>
          <a:lstStyle>
            <a:lvl1pPr marL="0" indent="0" algn="ctr">
              <a:lnSpc>
                <a:spcPct val="85000"/>
              </a:lnSpc>
              <a:buNone/>
              <a:defRPr sz="6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a:t>
            </a:r>
            <a:br>
              <a:rPr lang="en-US"/>
            </a:br>
            <a:r>
              <a:rPr lang="en-US"/>
              <a:t>Master text styles</a:t>
            </a:r>
          </a:p>
        </p:txBody>
      </p:sp>
      <p:sp>
        <p:nvSpPr>
          <p:cNvPr id="4" name="Freeform 3">
            <a:extLst>
              <a:ext uri="{FF2B5EF4-FFF2-40B4-BE49-F238E27FC236}">
                <a16:creationId xmlns:a16="http://schemas.microsoft.com/office/drawing/2014/main" id="{71793A59-1835-9BEA-82BD-12ABC2B23766}"/>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15" name="Text Placeholder 6">
            <a:extLst>
              <a:ext uri="{FF2B5EF4-FFF2-40B4-BE49-F238E27FC236}">
                <a16:creationId xmlns:a16="http://schemas.microsoft.com/office/drawing/2014/main" id="{4A62EBE4-D379-1EA9-266A-78AFD45E0B1F}"/>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0283783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g Statement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8">
            <a:extLst>
              <a:ext uri="{FF2B5EF4-FFF2-40B4-BE49-F238E27FC236}">
                <a16:creationId xmlns:a16="http://schemas.microsoft.com/office/drawing/2014/main" id="{195EB79C-7426-7B48-B4B4-C9F00B07CD2D}"/>
              </a:ext>
            </a:extLst>
          </p:cNvPr>
          <p:cNvSpPr>
            <a:spLocks noGrp="1"/>
          </p:cNvSpPr>
          <p:nvPr>
            <p:ph type="body" sz="quarter" idx="15" hasCustomPrompt="1"/>
          </p:nvPr>
        </p:nvSpPr>
        <p:spPr>
          <a:xfrm>
            <a:off x="601663" y="1647288"/>
            <a:ext cx="10996612" cy="3563423"/>
          </a:xfrm>
        </p:spPr>
        <p:txBody>
          <a:bodyPr lIns="0" tIns="0" rIns="0" bIns="0" anchor="ctr">
            <a:noAutofit/>
          </a:bodyPr>
          <a:lstStyle>
            <a:lvl1pPr marL="0" indent="0" algn="ctr">
              <a:lnSpc>
                <a:spcPct val="85000"/>
              </a:lnSpc>
              <a:buNone/>
              <a:defRPr sz="6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a:t>
            </a:r>
            <a:br>
              <a:rPr lang="en-US"/>
            </a:br>
            <a:r>
              <a:rPr lang="en-US"/>
              <a:t>Master text styles</a:t>
            </a:r>
          </a:p>
        </p:txBody>
      </p:sp>
      <p:sp>
        <p:nvSpPr>
          <p:cNvPr id="15" name="Text Placeholder 6">
            <a:extLst>
              <a:ext uri="{FF2B5EF4-FFF2-40B4-BE49-F238E27FC236}">
                <a16:creationId xmlns:a16="http://schemas.microsoft.com/office/drawing/2014/main" id="{94C64D13-D321-0395-82B2-927DAA7575BA}"/>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1210824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Up Red Bucket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9" name="Text Placeholder 8">
            <a:extLst>
              <a:ext uri="{FF2B5EF4-FFF2-40B4-BE49-F238E27FC236}">
                <a16:creationId xmlns:a16="http://schemas.microsoft.com/office/drawing/2014/main" id="{DB711D72-36CE-130E-23D1-226C7D720577}"/>
              </a:ext>
            </a:extLst>
          </p:cNvPr>
          <p:cNvSpPr>
            <a:spLocks noGrp="1"/>
          </p:cNvSpPr>
          <p:nvPr>
            <p:ph type="body" sz="quarter" idx="15"/>
          </p:nvPr>
        </p:nvSpPr>
        <p:spPr>
          <a:xfrm>
            <a:off x="601663" y="1647288"/>
            <a:ext cx="2589571" cy="3563423"/>
          </a:xfrm>
          <a:solidFill>
            <a:schemeClr val="accent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3" name="Text Placeholder 8">
            <a:extLst>
              <a:ext uri="{FF2B5EF4-FFF2-40B4-BE49-F238E27FC236}">
                <a16:creationId xmlns:a16="http://schemas.microsoft.com/office/drawing/2014/main" id="{0E10275C-56FD-C7C2-47F7-255ED3C3B9E3}"/>
              </a:ext>
            </a:extLst>
          </p:cNvPr>
          <p:cNvSpPr>
            <a:spLocks noGrp="1"/>
          </p:cNvSpPr>
          <p:nvPr>
            <p:ph type="body" sz="quarter" idx="16"/>
          </p:nvPr>
        </p:nvSpPr>
        <p:spPr>
          <a:xfrm>
            <a:off x="3404009" y="1647288"/>
            <a:ext cx="2589571" cy="3563423"/>
          </a:xfrm>
          <a:solidFill>
            <a:schemeClr val="accent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4" name="Text Placeholder 8">
            <a:extLst>
              <a:ext uri="{FF2B5EF4-FFF2-40B4-BE49-F238E27FC236}">
                <a16:creationId xmlns:a16="http://schemas.microsoft.com/office/drawing/2014/main" id="{FAF761D0-E0BA-E195-EE62-6BDCD78C20BB}"/>
              </a:ext>
            </a:extLst>
          </p:cNvPr>
          <p:cNvSpPr>
            <a:spLocks noGrp="1"/>
          </p:cNvSpPr>
          <p:nvPr>
            <p:ph type="body" sz="quarter" idx="17"/>
          </p:nvPr>
        </p:nvSpPr>
        <p:spPr>
          <a:xfrm>
            <a:off x="6206357" y="1647288"/>
            <a:ext cx="2589571" cy="3563423"/>
          </a:xfrm>
          <a:solidFill>
            <a:schemeClr val="accent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5" name="Text Placeholder 8">
            <a:extLst>
              <a:ext uri="{FF2B5EF4-FFF2-40B4-BE49-F238E27FC236}">
                <a16:creationId xmlns:a16="http://schemas.microsoft.com/office/drawing/2014/main" id="{19C738C4-3B6B-ED16-28EB-1AF3D9989CE2}"/>
              </a:ext>
            </a:extLst>
          </p:cNvPr>
          <p:cNvSpPr>
            <a:spLocks noGrp="1"/>
          </p:cNvSpPr>
          <p:nvPr>
            <p:ph type="body" sz="quarter" idx="18"/>
          </p:nvPr>
        </p:nvSpPr>
        <p:spPr>
          <a:xfrm>
            <a:off x="9000766" y="1647288"/>
            <a:ext cx="2589571" cy="3563423"/>
          </a:xfrm>
          <a:solidFill>
            <a:schemeClr val="accent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3" name="Text Placeholder 6">
            <a:extLst>
              <a:ext uri="{FF2B5EF4-FFF2-40B4-BE49-F238E27FC236}">
                <a16:creationId xmlns:a16="http://schemas.microsoft.com/office/drawing/2014/main" id="{566B15C5-AD56-1927-06FA-D450CE20958F}"/>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716575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Up Black Bucket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9" name="Text Placeholder 8">
            <a:extLst>
              <a:ext uri="{FF2B5EF4-FFF2-40B4-BE49-F238E27FC236}">
                <a16:creationId xmlns:a16="http://schemas.microsoft.com/office/drawing/2014/main" id="{DB711D72-36CE-130E-23D1-226C7D720577}"/>
              </a:ext>
            </a:extLst>
          </p:cNvPr>
          <p:cNvSpPr>
            <a:spLocks noGrp="1"/>
          </p:cNvSpPr>
          <p:nvPr>
            <p:ph type="body" sz="quarter" idx="15"/>
          </p:nvPr>
        </p:nvSpPr>
        <p:spPr>
          <a:xfrm>
            <a:off x="601663" y="1647288"/>
            <a:ext cx="2589571" cy="3563423"/>
          </a:xfrm>
          <a:solidFill>
            <a:schemeClr val="tx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3" name="Text Placeholder 8">
            <a:extLst>
              <a:ext uri="{FF2B5EF4-FFF2-40B4-BE49-F238E27FC236}">
                <a16:creationId xmlns:a16="http://schemas.microsoft.com/office/drawing/2014/main" id="{0E10275C-56FD-C7C2-47F7-255ED3C3B9E3}"/>
              </a:ext>
            </a:extLst>
          </p:cNvPr>
          <p:cNvSpPr>
            <a:spLocks noGrp="1"/>
          </p:cNvSpPr>
          <p:nvPr>
            <p:ph type="body" sz="quarter" idx="16"/>
          </p:nvPr>
        </p:nvSpPr>
        <p:spPr>
          <a:xfrm>
            <a:off x="3404009" y="1647288"/>
            <a:ext cx="2589571" cy="3563423"/>
          </a:xfrm>
          <a:solidFill>
            <a:schemeClr val="tx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4" name="Text Placeholder 8">
            <a:extLst>
              <a:ext uri="{FF2B5EF4-FFF2-40B4-BE49-F238E27FC236}">
                <a16:creationId xmlns:a16="http://schemas.microsoft.com/office/drawing/2014/main" id="{FAF761D0-E0BA-E195-EE62-6BDCD78C20BB}"/>
              </a:ext>
            </a:extLst>
          </p:cNvPr>
          <p:cNvSpPr>
            <a:spLocks noGrp="1"/>
          </p:cNvSpPr>
          <p:nvPr>
            <p:ph type="body" sz="quarter" idx="17"/>
          </p:nvPr>
        </p:nvSpPr>
        <p:spPr>
          <a:xfrm>
            <a:off x="6206357" y="1647288"/>
            <a:ext cx="2589571" cy="3563423"/>
          </a:xfrm>
          <a:solidFill>
            <a:schemeClr val="tx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5" name="Text Placeholder 8">
            <a:extLst>
              <a:ext uri="{FF2B5EF4-FFF2-40B4-BE49-F238E27FC236}">
                <a16:creationId xmlns:a16="http://schemas.microsoft.com/office/drawing/2014/main" id="{19C738C4-3B6B-ED16-28EB-1AF3D9989CE2}"/>
              </a:ext>
            </a:extLst>
          </p:cNvPr>
          <p:cNvSpPr>
            <a:spLocks noGrp="1"/>
          </p:cNvSpPr>
          <p:nvPr>
            <p:ph type="body" sz="quarter" idx="18"/>
          </p:nvPr>
        </p:nvSpPr>
        <p:spPr>
          <a:xfrm>
            <a:off x="9000766" y="1647288"/>
            <a:ext cx="2589571" cy="3563423"/>
          </a:xfrm>
          <a:solidFill>
            <a:schemeClr val="tx1"/>
          </a:solidFill>
        </p:spPr>
        <p:txBody>
          <a:bodyPr lIns="0" tIns="0" rIns="0" bIns="0" anchor="ctr">
            <a:noAutofit/>
          </a:bodyPr>
          <a:lstStyle>
            <a:lvl1pPr marL="0" indent="0" algn="ctr">
              <a:buNone/>
              <a:defRPr sz="24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3" name="Freeform 2">
            <a:extLst>
              <a:ext uri="{FF2B5EF4-FFF2-40B4-BE49-F238E27FC236}">
                <a16:creationId xmlns:a16="http://schemas.microsoft.com/office/drawing/2014/main" id="{A001521B-F009-CA17-B59D-53F4BD4A5D66}"/>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4" name="Text Placeholder 6">
            <a:extLst>
              <a:ext uri="{FF2B5EF4-FFF2-40B4-BE49-F238E27FC236}">
                <a16:creationId xmlns:a16="http://schemas.microsoft.com/office/drawing/2014/main" id="{0DD64CC8-D235-749D-A994-537DE9A21614}"/>
              </a:ext>
            </a:extLst>
          </p:cNvPr>
          <p:cNvSpPr>
            <a:spLocks noGrp="1"/>
          </p:cNvSpPr>
          <p:nvPr>
            <p:ph type="body" sz="quarter" idx="13"/>
          </p:nvPr>
        </p:nvSpPr>
        <p:spPr>
          <a:xfrm>
            <a:off x="601663" y="752475"/>
            <a:ext cx="10996612" cy="279400"/>
          </a:xfrm>
        </p:spPr>
        <p:txBody>
          <a:bodyPr>
            <a:noAutofit/>
          </a:bodyPr>
          <a:lstStyle>
            <a:lvl1pPr>
              <a:buClr>
                <a:schemeClr val="bg1"/>
              </a:buCl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8888472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 Title + Point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739D-F53B-BF43-FD2F-99EC7179A9CC}"/>
              </a:ext>
            </a:extLst>
          </p:cNvPr>
          <p:cNvSpPr>
            <a:spLocks noGrp="1"/>
          </p:cNvSpPr>
          <p:nvPr>
            <p:ph type="ctrTitle"/>
          </p:nvPr>
        </p:nvSpPr>
        <p:spPr>
          <a:xfrm>
            <a:off x="601663" y="1041400"/>
            <a:ext cx="5042134" cy="2387600"/>
          </a:xfrm>
        </p:spPr>
        <p:txBody>
          <a:bodyPr anchor="t">
            <a:normAutofit/>
          </a:bodyPr>
          <a:lstStyle>
            <a:lvl1pPr algn="l">
              <a:lnSpc>
                <a:spcPct val="85000"/>
              </a:lnSpc>
              <a:defRPr sz="58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4">
            <a:extLst>
              <a:ext uri="{FF2B5EF4-FFF2-40B4-BE49-F238E27FC236}">
                <a16:creationId xmlns:a16="http://schemas.microsoft.com/office/drawing/2014/main" id="{AAE2485D-E6C5-BBAB-463B-79C0CFC8AAB4}"/>
              </a:ext>
            </a:extLst>
          </p:cNvPr>
          <p:cNvSpPr>
            <a:spLocks noGrp="1"/>
          </p:cNvSpPr>
          <p:nvPr>
            <p:ph type="body" sz="quarter" idx="13" hasCustomPrompt="1"/>
          </p:nvPr>
        </p:nvSpPr>
        <p:spPr>
          <a:xfrm>
            <a:off x="6298015" y="1031875"/>
            <a:ext cx="637680" cy="637680"/>
          </a:xfrm>
          <a:prstGeom prst="ellipse">
            <a:avLst/>
          </a:prstGeom>
          <a:solidFill>
            <a:schemeClr val="accent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7" name="Text Placeholder 4">
            <a:extLst>
              <a:ext uri="{FF2B5EF4-FFF2-40B4-BE49-F238E27FC236}">
                <a16:creationId xmlns:a16="http://schemas.microsoft.com/office/drawing/2014/main" id="{B723E3BA-0B2C-17F8-A058-68F15CDBA98E}"/>
              </a:ext>
            </a:extLst>
          </p:cNvPr>
          <p:cNvSpPr>
            <a:spLocks noGrp="1"/>
          </p:cNvSpPr>
          <p:nvPr>
            <p:ph type="body" sz="quarter" idx="14"/>
          </p:nvPr>
        </p:nvSpPr>
        <p:spPr>
          <a:xfrm>
            <a:off x="7174939" y="1031875"/>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E26A827D-7FFA-BDC9-3C44-94FDF86825E6}"/>
              </a:ext>
            </a:extLst>
          </p:cNvPr>
          <p:cNvSpPr>
            <a:spLocks noGrp="1"/>
          </p:cNvSpPr>
          <p:nvPr>
            <p:ph type="body" sz="quarter" idx="15" hasCustomPrompt="1"/>
          </p:nvPr>
        </p:nvSpPr>
        <p:spPr>
          <a:xfrm>
            <a:off x="6298015" y="1998741"/>
            <a:ext cx="637680" cy="637680"/>
          </a:xfrm>
          <a:prstGeom prst="ellipse">
            <a:avLst/>
          </a:prstGeom>
          <a:solidFill>
            <a:schemeClr val="accent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0" name="Text Placeholder 4">
            <a:extLst>
              <a:ext uri="{FF2B5EF4-FFF2-40B4-BE49-F238E27FC236}">
                <a16:creationId xmlns:a16="http://schemas.microsoft.com/office/drawing/2014/main" id="{D35F0C63-E340-BF66-3F80-46A0E1711C47}"/>
              </a:ext>
            </a:extLst>
          </p:cNvPr>
          <p:cNvSpPr>
            <a:spLocks noGrp="1"/>
          </p:cNvSpPr>
          <p:nvPr>
            <p:ph type="body" sz="quarter" idx="16"/>
          </p:nvPr>
        </p:nvSpPr>
        <p:spPr>
          <a:xfrm>
            <a:off x="7174939" y="1998741"/>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BD1C4246-4912-2971-5806-C968219459A9}"/>
              </a:ext>
            </a:extLst>
          </p:cNvPr>
          <p:cNvSpPr>
            <a:spLocks noGrp="1"/>
          </p:cNvSpPr>
          <p:nvPr>
            <p:ph type="body" sz="quarter" idx="17" hasCustomPrompt="1"/>
          </p:nvPr>
        </p:nvSpPr>
        <p:spPr>
          <a:xfrm>
            <a:off x="6298015" y="2965607"/>
            <a:ext cx="637680" cy="637680"/>
          </a:xfrm>
          <a:prstGeom prst="ellipse">
            <a:avLst/>
          </a:prstGeom>
          <a:solidFill>
            <a:schemeClr val="accent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2" name="Text Placeholder 4">
            <a:extLst>
              <a:ext uri="{FF2B5EF4-FFF2-40B4-BE49-F238E27FC236}">
                <a16:creationId xmlns:a16="http://schemas.microsoft.com/office/drawing/2014/main" id="{D979409E-8DF8-3663-F4F2-F0F82A4BFA5A}"/>
              </a:ext>
            </a:extLst>
          </p:cNvPr>
          <p:cNvSpPr>
            <a:spLocks noGrp="1"/>
          </p:cNvSpPr>
          <p:nvPr>
            <p:ph type="body" sz="quarter" idx="18"/>
          </p:nvPr>
        </p:nvSpPr>
        <p:spPr>
          <a:xfrm>
            <a:off x="7174939" y="2965607"/>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DA063719-2961-B1A1-EF29-8F59D708272A}"/>
              </a:ext>
            </a:extLst>
          </p:cNvPr>
          <p:cNvSpPr>
            <a:spLocks noGrp="1"/>
          </p:cNvSpPr>
          <p:nvPr>
            <p:ph type="body" sz="quarter" idx="19" hasCustomPrompt="1"/>
          </p:nvPr>
        </p:nvSpPr>
        <p:spPr>
          <a:xfrm>
            <a:off x="6298015" y="3932473"/>
            <a:ext cx="637680" cy="637680"/>
          </a:xfrm>
          <a:prstGeom prst="ellipse">
            <a:avLst/>
          </a:prstGeom>
          <a:solidFill>
            <a:schemeClr val="accent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4" name="Text Placeholder 4">
            <a:extLst>
              <a:ext uri="{FF2B5EF4-FFF2-40B4-BE49-F238E27FC236}">
                <a16:creationId xmlns:a16="http://schemas.microsoft.com/office/drawing/2014/main" id="{A0778199-60AE-6591-B8F8-4DB482788470}"/>
              </a:ext>
            </a:extLst>
          </p:cNvPr>
          <p:cNvSpPr>
            <a:spLocks noGrp="1"/>
          </p:cNvSpPr>
          <p:nvPr>
            <p:ph type="body" sz="quarter" idx="20"/>
          </p:nvPr>
        </p:nvSpPr>
        <p:spPr>
          <a:xfrm>
            <a:off x="7174939" y="3932473"/>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043300F1-1E0A-20DF-C655-3D28FCFCE0C5}"/>
              </a:ext>
            </a:extLst>
          </p:cNvPr>
          <p:cNvSpPr>
            <a:spLocks noGrp="1"/>
          </p:cNvSpPr>
          <p:nvPr>
            <p:ph type="body" sz="quarter" idx="21" hasCustomPrompt="1"/>
          </p:nvPr>
        </p:nvSpPr>
        <p:spPr>
          <a:xfrm>
            <a:off x="6298015" y="4899337"/>
            <a:ext cx="637680" cy="637680"/>
          </a:xfrm>
          <a:prstGeom prst="ellipse">
            <a:avLst/>
          </a:prstGeom>
          <a:solidFill>
            <a:schemeClr val="accent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6" name="Text Placeholder 4">
            <a:extLst>
              <a:ext uri="{FF2B5EF4-FFF2-40B4-BE49-F238E27FC236}">
                <a16:creationId xmlns:a16="http://schemas.microsoft.com/office/drawing/2014/main" id="{01ABA218-EF45-0215-9409-88316943A008}"/>
              </a:ext>
            </a:extLst>
          </p:cNvPr>
          <p:cNvSpPr>
            <a:spLocks noGrp="1"/>
          </p:cNvSpPr>
          <p:nvPr>
            <p:ph type="body" sz="quarter" idx="22"/>
          </p:nvPr>
        </p:nvSpPr>
        <p:spPr>
          <a:xfrm>
            <a:off x="7174939" y="4899337"/>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35317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 Title + Points (Red)">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4">
            <a:extLst>
              <a:ext uri="{FF2B5EF4-FFF2-40B4-BE49-F238E27FC236}">
                <a16:creationId xmlns:a16="http://schemas.microsoft.com/office/drawing/2014/main" id="{AAE2485D-E6C5-BBAB-463B-79C0CFC8AAB4}"/>
              </a:ext>
            </a:extLst>
          </p:cNvPr>
          <p:cNvSpPr>
            <a:spLocks noGrp="1"/>
          </p:cNvSpPr>
          <p:nvPr>
            <p:ph type="body" sz="quarter" idx="13" hasCustomPrompt="1"/>
          </p:nvPr>
        </p:nvSpPr>
        <p:spPr>
          <a:xfrm>
            <a:off x="6298015" y="1031875"/>
            <a:ext cx="637680" cy="637680"/>
          </a:xfrm>
          <a:prstGeom prst="ellipse">
            <a:avLst/>
          </a:prstGeom>
          <a:solidFill>
            <a:schemeClr val="tx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7" name="Text Placeholder 4">
            <a:extLst>
              <a:ext uri="{FF2B5EF4-FFF2-40B4-BE49-F238E27FC236}">
                <a16:creationId xmlns:a16="http://schemas.microsoft.com/office/drawing/2014/main" id="{B723E3BA-0B2C-17F8-A058-68F15CDBA98E}"/>
              </a:ext>
            </a:extLst>
          </p:cNvPr>
          <p:cNvSpPr>
            <a:spLocks noGrp="1"/>
          </p:cNvSpPr>
          <p:nvPr>
            <p:ph type="body" sz="quarter" idx="14"/>
          </p:nvPr>
        </p:nvSpPr>
        <p:spPr>
          <a:xfrm>
            <a:off x="7174939" y="1031875"/>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E26A827D-7FFA-BDC9-3C44-94FDF86825E6}"/>
              </a:ext>
            </a:extLst>
          </p:cNvPr>
          <p:cNvSpPr>
            <a:spLocks noGrp="1"/>
          </p:cNvSpPr>
          <p:nvPr>
            <p:ph type="body" sz="quarter" idx="15" hasCustomPrompt="1"/>
          </p:nvPr>
        </p:nvSpPr>
        <p:spPr>
          <a:xfrm>
            <a:off x="6298015" y="1998741"/>
            <a:ext cx="637680" cy="637680"/>
          </a:xfrm>
          <a:prstGeom prst="ellipse">
            <a:avLst/>
          </a:prstGeom>
          <a:solidFill>
            <a:schemeClr val="tx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0" name="Text Placeholder 4">
            <a:extLst>
              <a:ext uri="{FF2B5EF4-FFF2-40B4-BE49-F238E27FC236}">
                <a16:creationId xmlns:a16="http://schemas.microsoft.com/office/drawing/2014/main" id="{D35F0C63-E340-BF66-3F80-46A0E1711C47}"/>
              </a:ext>
            </a:extLst>
          </p:cNvPr>
          <p:cNvSpPr>
            <a:spLocks noGrp="1"/>
          </p:cNvSpPr>
          <p:nvPr>
            <p:ph type="body" sz="quarter" idx="16"/>
          </p:nvPr>
        </p:nvSpPr>
        <p:spPr>
          <a:xfrm>
            <a:off x="7174939" y="1998741"/>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BD1C4246-4912-2971-5806-C968219459A9}"/>
              </a:ext>
            </a:extLst>
          </p:cNvPr>
          <p:cNvSpPr>
            <a:spLocks noGrp="1"/>
          </p:cNvSpPr>
          <p:nvPr>
            <p:ph type="body" sz="quarter" idx="17" hasCustomPrompt="1"/>
          </p:nvPr>
        </p:nvSpPr>
        <p:spPr>
          <a:xfrm>
            <a:off x="6298015" y="2965607"/>
            <a:ext cx="637680" cy="637680"/>
          </a:xfrm>
          <a:prstGeom prst="ellipse">
            <a:avLst/>
          </a:prstGeom>
          <a:solidFill>
            <a:schemeClr val="tx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2" name="Text Placeholder 4">
            <a:extLst>
              <a:ext uri="{FF2B5EF4-FFF2-40B4-BE49-F238E27FC236}">
                <a16:creationId xmlns:a16="http://schemas.microsoft.com/office/drawing/2014/main" id="{D979409E-8DF8-3663-F4F2-F0F82A4BFA5A}"/>
              </a:ext>
            </a:extLst>
          </p:cNvPr>
          <p:cNvSpPr>
            <a:spLocks noGrp="1"/>
          </p:cNvSpPr>
          <p:nvPr>
            <p:ph type="body" sz="quarter" idx="18"/>
          </p:nvPr>
        </p:nvSpPr>
        <p:spPr>
          <a:xfrm>
            <a:off x="7174939" y="2965607"/>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DA063719-2961-B1A1-EF29-8F59D708272A}"/>
              </a:ext>
            </a:extLst>
          </p:cNvPr>
          <p:cNvSpPr>
            <a:spLocks noGrp="1"/>
          </p:cNvSpPr>
          <p:nvPr>
            <p:ph type="body" sz="quarter" idx="19" hasCustomPrompt="1"/>
          </p:nvPr>
        </p:nvSpPr>
        <p:spPr>
          <a:xfrm>
            <a:off x="6298015" y="3932473"/>
            <a:ext cx="637680" cy="637680"/>
          </a:xfrm>
          <a:prstGeom prst="ellipse">
            <a:avLst/>
          </a:prstGeom>
          <a:solidFill>
            <a:schemeClr val="tx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4" name="Text Placeholder 4">
            <a:extLst>
              <a:ext uri="{FF2B5EF4-FFF2-40B4-BE49-F238E27FC236}">
                <a16:creationId xmlns:a16="http://schemas.microsoft.com/office/drawing/2014/main" id="{A0778199-60AE-6591-B8F8-4DB482788470}"/>
              </a:ext>
            </a:extLst>
          </p:cNvPr>
          <p:cNvSpPr>
            <a:spLocks noGrp="1"/>
          </p:cNvSpPr>
          <p:nvPr>
            <p:ph type="body" sz="quarter" idx="20"/>
          </p:nvPr>
        </p:nvSpPr>
        <p:spPr>
          <a:xfrm>
            <a:off x="7174939" y="3932473"/>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043300F1-1E0A-20DF-C655-3D28FCFCE0C5}"/>
              </a:ext>
            </a:extLst>
          </p:cNvPr>
          <p:cNvSpPr>
            <a:spLocks noGrp="1"/>
          </p:cNvSpPr>
          <p:nvPr>
            <p:ph type="body" sz="quarter" idx="21" hasCustomPrompt="1"/>
          </p:nvPr>
        </p:nvSpPr>
        <p:spPr>
          <a:xfrm>
            <a:off x="6298015" y="4899337"/>
            <a:ext cx="637680" cy="637680"/>
          </a:xfrm>
          <a:prstGeom prst="ellipse">
            <a:avLst/>
          </a:prstGeom>
          <a:solidFill>
            <a:schemeClr val="tx1"/>
          </a:solidFill>
        </p:spPr>
        <p:txBody>
          <a:bodyPr anchor="ctr">
            <a:noAutofit/>
          </a:bodyPr>
          <a:lstStyle>
            <a:lvl1pPr algn="ctr">
              <a:defRPr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X</a:t>
            </a:r>
          </a:p>
        </p:txBody>
      </p:sp>
      <p:sp>
        <p:nvSpPr>
          <p:cNvPr id="16" name="Text Placeholder 4">
            <a:extLst>
              <a:ext uri="{FF2B5EF4-FFF2-40B4-BE49-F238E27FC236}">
                <a16:creationId xmlns:a16="http://schemas.microsoft.com/office/drawing/2014/main" id="{01ABA218-EF45-0215-9409-88316943A008}"/>
              </a:ext>
            </a:extLst>
          </p:cNvPr>
          <p:cNvSpPr>
            <a:spLocks noGrp="1"/>
          </p:cNvSpPr>
          <p:nvPr>
            <p:ph type="body" sz="quarter" idx="22"/>
          </p:nvPr>
        </p:nvSpPr>
        <p:spPr>
          <a:xfrm>
            <a:off x="7174939" y="4899337"/>
            <a:ext cx="4415398" cy="637680"/>
          </a:xfrm>
          <a:prstGeom prst="rect">
            <a:avLst/>
          </a:prstGeom>
          <a:noFill/>
        </p:spPr>
        <p:txBody>
          <a:bodyPr anchor="ctr">
            <a:normAutofit/>
          </a:bodyPr>
          <a:lstStyle>
            <a:lvl1pPr algn="l">
              <a:defRPr sz="18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 name="Freeform 2">
            <a:extLst>
              <a:ext uri="{FF2B5EF4-FFF2-40B4-BE49-F238E27FC236}">
                <a16:creationId xmlns:a16="http://schemas.microsoft.com/office/drawing/2014/main" id="{DBBDADDB-227D-0458-8425-DB96C905782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4" name="Title 1">
            <a:extLst>
              <a:ext uri="{FF2B5EF4-FFF2-40B4-BE49-F238E27FC236}">
                <a16:creationId xmlns:a16="http://schemas.microsoft.com/office/drawing/2014/main" id="{E0F5BE11-44C4-0823-22B4-9103FE7062C1}"/>
              </a:ext>
            </a:extLst>
          </p:cNvPr>
          <p:cNvSpPr>
            <a:spLocks noGrp="1"/>
          </p:cNvSpPr>
          <p:nvPr>
            <p:ph type="ctrTitle"/>
          </p:nvPr>
        </p:nvSpPr>
        <p:spPr>
          <a:xfrm>
            <a:off x="601663" y="1041400"/>
            <a:ext cx="5042134" cy="2387600"/>
          </a:xfrm>
        </p:spPr>
        <p:txBody>
          <a:bodyPr anchor="t">
            <a:normAutofit/>
          </a:bodyPr>
          <a:lstStyle>
            <a:lvl1pPr algn="l">
              <a:lnSpc>
                <a:spcPct val="85000"/>
              </a:lnSpc>
              <a:defRPr sz="5800">
                <a:solidFill>
                  <a:schemeClr val="bg1"/>
                </a:solidFill>
              </a:defRPr>
            </a:lvl1pPr>
          </a:lstStyle>
          <a:p>
            <a:r>
              <a:rPr lang="en-US"/>
              <a:t>Click to edit Master title style</a:t>
            </a:r>
          </a:p>
        </p:txBody>
      </p:sp>
    </p:spTree>
    <p:extLst>
      <p:ext uri="{BB962C8B-B14F-4D97-AF65-F5344CB8AC3E}">
        <p14:creationId xmlns:p14="http://schemas.microsoft.com/office/powerpoint/2010/main" val="24830262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 1 Chart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01663" y="1354137"/>
            <a:ext cx="10996611" cy="4751387"/>
          </a:xfrm>
        </p:spPr>
        <p:txBody>
          <a:bodyPr anchor="ctr"/>
          <a:lstStyle>
            <a:lvl1pPr algn="ctr">
              <a:defRPr>
                <a:solidFill>
                  <a:schemeClr val="bg1"/>
                </a:solidFill>
              </a:defRPr>
            </a:lvl1pPr>
          </a:lstStyle>
          <a:p>
            <a:r>
              <a:rPr lang="en-US"/>
              <a:t>Click icon to add chart</a:t>
            </a:r>
          </a:p>
        </p:txBody>
      </p:sp>
      <p:sp>
        <p:nvSpPr>
          <p:cNvPr id="3" name="Rogers logo">
            <a:extLst>
              <a:ext uri="{FF2B5EF4-FFF2-40B4-BE49-F238E27FC236}">
                <a16:creationId xmlns:a16="http://schemas.microsoft.com/office/drawing/2014/main" id="{FEFB3EFD-2D75-6CFD-B00F-9C0C9D53404A}"/>
              </a:ext>
              <a:ext uri="{C183D7F6-B498-43B3-948B-1728B52AA6E4}">
                <adec:decorative xmlns:adec="http://schemas.microsoft.com/office/drawing/2017/decorative" val="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Tree>
    <p:extLst>
      <p:ext uri="{BB962C8B-B14F-4D97-AF65-F5344CB8AC3E}">
        <p14:creationId xmlns:p14="http://schemas.microsoft.com/office/powerpoint/2010/main" val="25861902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Col Text with Headline + Points (Black)">
    <p:bg>
      <p:bgPr>
        <a:solidFill>
          <a:schemeClr val="tx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4">
            <a:extLst>
              <a:ext uri="{FF2B5EF4-FFF2-40B4-BE49-F238E27FC236}">
                <a16:creationId xmlns:a16="http://schemas.microsoft.com/office/drawing/2014/main" id="{AAE2485D-E6C5-BBAB-463B-79C0CFC8AAB4}"/>
              </a:ext>
            </a:extLst>
          </p:cNvPr>
          <p:cNvSpPr>
            <a:spLocks noGrp="1"/>
          </p:cNvSpPr>
          <p:nvPr>
            <p:ph type="body" sz="quarter" idx="13" hasCustomPrompt="1"/>
          </p:nvPr>
        </p:nvSpPr>
        <p:spPr>
          <a:xfrm>
            <a:off x="6298015" y="1926936"/>
            <a:ext cx="355270" cy="355270"/>
          </a:xfrm>
          <a:prstGeom prst="ellipse">
            <a:avLst/>
          </a:prstGeom>
          <a:solidFill>
            <a:schemeClr val="accent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7" name="Text Placeholder 4">
            <a:extLst>
              <a:ext uri="{FF2B5EF4-FFF2-40B4-BE49-F238E27FC236}">
                <a16:creationId xmlns:a16="http://schemas.microsoft.com/office/drawing/2014/main" id="{B723E3BA-0B2C-17F8-A058-68F15CDBA98E}"/>
              </a:ext>
            </a:extLst>
          </p:cNvPr>
          <p:cNvSpPr>
            <a:spLocks noGrp="1"/>
          </p:cNvSpPr>
          <p:nvPr>
            <p:ph type="body" sz="quarter" idx="14"/>
          </p:nvPr>
        </p:nvSpPr>
        <p:spPr>
          <a:xfrm>
            <a:off x="6869670" y="1906597"/>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E26A827D-7FFA-BDC9-3C44-94FDF86825E6}"/>
              </a:ext>
            </a:extLst>
          </p:cNvPr>
          <p:cNvSpPr>
            <a:spLocks noGrp="1"/>
          </p:cNvSpPr>
          <p:nvPr>
            <p:ph type="body" sz="quarter" idx="15" hasCustomPrompt="1"/>
          </p:nvPr>
        </p:nvSpPr>
        <p:spPr>
          <a:xfrm>
            <a:off x="6298015" y="2611992"/>
            <a:ext cx="355270" cy="355270"/>
          </a:xfrm>
          <a:prstGeom prst="ellipse">
            <a:avLst/>
          </a:prstGeom>
          <a:solidFill>
            <a:schemeClr val="accent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4">
            <a:extLst>
              <a:ext uri="{FF2B5EF4-FFF2-40B4-BE49-F238E27FC236}">
                <a16:creationId xmlns:a16="http://schemas.microsoft.com/office/drawing/2014/main" id="{D35F0C63-E340-BF66-3F80-46A0E1711C47}"/>
              </a:ext>
            </a:extLst>
          </p:cNvPr>
          <p:cNvSpPr>
            <a:spLocks noGrp="1"/>
          </p:cNvSpPr>
          <p:nvPr>
            <p:ph type="body" sz="quarter" idx="16"/>
          </p:nvPr>
        </p:nvSpPr>
        <p:spPr>
          <a:xfrm>
            <a:off x="6869670" y="2591653"/>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BD1C4246-4912-2971-5806-C968219459A9}"/>
              </a:ext>
            </a:extLst>
          </p:cNvPr>
          <p:cNvSpPr>
            <a:spLocks noGrp="1"/>
          </p:cNvSpPr>
          <p:nvPr>
            <p:ph type="body" sz="quarter" idx="17" hasCustomPrompt="1"/>
          </p:nvPr>
        </p:nvSpPr>
        <p:spPr>
          <a:xfrm>
            <a:off x="6298015" y="3297048"/>
            <a:ext cx="355270" cy="355270"/>
          </a:xfrm>
          <a:prstGeom prst="ellipse">
            <a:avLst/>
          </a:prstGeom>
          <a:solidFill>
            <a:schemeClr val="accent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2" name="Text Placeholder 4">
            <a:extLst>
              <a:ext uri="{FF2B5EF4-FFF2-40B4-BE49-F238E27FC236}">
                <a16:creationId xmlns:a16="http://schemas.microsoft.com/office/drawing/2014/main" id="{D979409E-8DF8-3663-F4F2-F0F82A4BFA5A}"/>
              </a:ext>
            </a:extLst>
          </p:cNvPr>
          <p:cNvSpPr>
            <a:spLocks noGrp="1"/>
          </p:cNvSpPr>
          <p:nvPr>
            <p:ph type="body" sz="quarter" idx="18"/>
          </p:nvPr>
        </p:nvSpPr>
        <p:spPr>
          <a:xfrm>
            <a:off x="6869670" y="3276709"/>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DA063719-2961-B1A1-EF29-8F59D708272A}"/>
              </a:ext>
            </a:extLst>
          </p:cNvPr>
          <p:cNvSpPr>
            <a:spLocks noGrp="1"/>
          </p:cNvSpPr>
          <p:nvPr>
            <p:ph type="body" sz="quarter" idx="19" hasCustomPrompt="1"/>
          </p:nvPr>
        </p:nvSpPr>
        <p:spPr>
          <a:xfrm>
            <a:off x="6298015" y="3982104"/>
            <a:ext cx="355270" cy="355270"/>
          </a:xfrm>
          <a:prstGeom prst="ellipse">
            <a:avLst/>
          </a:prstGeom>
          <a:solidFill>
            <a:schemeClr val="accent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4" name="Text Placeholder 4">
            <a:extLst>
              <a:ext uri="{FF2B5EF4-FFF2-40B4-BE49-F238E27FC236}">
                <a16:creationId xmlns:a16="http://schemas.microsoft.com/office/drawing/2014/main" id="{A0778199-60AE-6591-B8F8-4DB482788470}"/>
              </a:ext>
            </a:extLst>
          </p:cNvPr>
          <p:cNvSpPr>
            <a:spLocks noGrp="1"/>
          </p:cNvSpPr>
          <p:nvPr>
            <p:ph type="body" sz="quarter" idx="20"/>
          </p:nvPr>
        </p:nvSpPr>
        <p:spPr>
          <a:xfrm>
            <a:off x="6869670" y="3961765"/>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043300F1-1E0A-20DF-C655-3D28FCFCE0C5}"/>
              </a:ext>
            </a:extLst>
          </p:cNvPr>
          <p:cNvSpPr>
            <a:spLocks noGrp="1"/>
          </p:cNvSpPr>
          <p:nvPr>
            <p:ph type="body" sz="quarter" idx="21" hasCustomPrompt="1"/>
          </p:nvPr>
        </p:nvSpPr>
        <p:spPr>
          <a:xfrm>
            <a:off x="6298015" y="4667160"/>
            <a:ext cx="355270" cy="355270"/>
          </a:xfrm>
          <a:prstGeom prst="ellipse">
            <a:avLst/>
          </a:prstGeom>
          <a:solidFill>
            <a:schemeClr val="accent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6" name="Text Placeholder 4">
            <a:extLst>
              <a:ext uri="{FF2B5EF4-FFF2-40B4-BE49-F238E27FC236}">
                <a16:creationId xmlns:a16="http://schemas.microsoft.com/office/drawing/2014/main" id="{01ABA218-EF45-0215-9409-88316943A008}"/>
              </a:ext>
            </a:extLst>
          </p:cNvPr>
          <p:cNvSpPr>
            <a:spLocks noGrp="1"/>
          </p:cNvSpPr>
          <p:nvPr>
            <p:ph type="body" sz="quarter" idx="22"/>
          </p:nvPr>
        </p:nvSpPr>
        <p:spPr>
          <a:xfrm>
            <a:off x="6869670" y="4646821"/>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 name="Title 1">
            <a:extLst>
              <a:ext uri="{FF2B5EF4-FFF2-40B4-BE49-F238E27FC236}">
                <a16:creationId xmlns:a16="http://schemas.microsoft.com/office/drawing/2014/main" id="{C7528041-2864-5099-4A81-BCDDCD6235D1}"/>
              </a:ext>
            </a:extLst>
          </p:cNvPr>
          <p:cNvSpPr>
            <a:spLocks noGrp="1"/>
          </p:cNvSpPr>
          <p:nvPr>
            <p:ph type="title"/>
          </p:nvPr>
        </p:nvSpPr>
        <p:spPr>
          <a:xfrm>
            <a:off x="601663" y="365125"/>
            <a:ext cx="10988674" cy="387798"/>
          </a:xfrm>
        </p:spPr>
        <p:txBody>
          <a:bodyPr/>
          <a:lstStyle>
            <a:lvl1pPr>
              <a:defRPr>
                <a:solidFill>
                  <a:srgbClr val="FFFFFF"/>
                </a:solidFill>
              </a:defRPr>
            </a:lvl1pPr>
          </a:lstStyle>
          <a:p>
            <a:r>
              <a:rPr lang="en-US"/>
              <a:t>Click to edit Master title style</a:t>
            </a:r>
          </a:p>
        </p:txBody>
      </p:sp>
      <p:sp>
        <p:nvSpPr>
          <p:cNvPr id="8" name="Text Placeholder 6">
            <a:extLst>
              <a:ext uri="{FF2B5EF4-FFF2-40B4-BE49-F238E27FC236}">
                <a16:creationId xmlns:a16="http://schemas.microsoft.com/office/drawing/2014/main" id="{605C893B-4F66-3DCE-9923-22B97C51E993}"/>
              </a:ext>
            </a:extLst>
          </p:cNvPr>
          <p:cNvSpPr>
            <a:spLocks noGrp="1"/>
          </p:cNvSpPr>
          <p:nvPr>
            <p:ph type="body" sz="quarter" idx="2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7" name="Text Placeholder 6">
            <a:extLst>
              <a:ext uri="{FF2B5EF4-FFF2-40B4-BE49-F238E27FC236}">
                <a16:creationId xmlns:a16="http://schemas.microsoft.com/office/drawing/2014/main" id="{599BD595-F363-12A7-273A-9D5B4E20F64F}"/>
              </a:ext>
            </a:extLst>
          </p:cNvPr>
          <p:cNvSpPr>
            <a:spLocks noGrp="1"/>
          </p:cNvSpPr>
          <p:nvPr>
            <p:ph type="body" sz="quarter" idx="24"/>
          </p:nvPr>
        </p:nvSpPr>
        <p:spPr>
          <a:xfrm>
            <a:off x="601663" y="1777322"/>
            <a:ext cx="5150551" cy="3168650"/>
          </a:xfrm>
        </p:spPr>
        <p:txBody>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b="0" i="0">
                <a:solidFill>
                  <a:schemeClr val="bg1"/>
                </a:solidFill>
                <a:latin typeface="Ted Next Medium" panose="020B0602030202020203" pitchFamily="34" charset="77"/>
              </a:defRPr>
            </a:lvl2pPr>
            <a:lvl3pPr marL="720000" indent="-173038">
              <a:buClr>
                <a:schemeClr val="accent1"/>
              </a:buClr>
              <a:buFont typeface="Courier New" panose="02070309020205020404" pitchFamily="49" charset="0"/>
              <a:buChar char="o"/>
              <a:tabLst/>
              <a:defRPr b="0" i="0">
                <a:solidFill>
                  <a:schemeClr val="bg1"/>
                </a:solidFill>
                <a:latin typeface="Ted Next Medium" panose="020B0602030202020203" pitchFamily="34" charset="77"/>
              </a:defRPr>
            </a:lvl3pPr>
            <a:lvl4pPr marL="1080000" indent="-173038">
              <a:buClr>
                <a:schemeClr val="accent1"/>
              </a:buClr>
              <a:buFont typeface="Wingdings" pitchFamily="2" charset="2"/>
              <a:buChar char="§"/>
              <a:tabLst/>
              <a:defRPr b="0" i="0">
                <a:solidFill>
                  <a:schemeClr val="bg1"/>
                </a:solidFill>
                <a:latin typeface="Ted Next Medium" panose="020B0602030202020203" pitchFamily="34" charset="77"/>
              </a:defRPr>
            </a:lvl4pPr>
            <a:lvl5pPr marL="1440000" indent="-173038">
              <a:buClr>
                <a:schemeClr val="accent1"/>
              </a:buClr>
              <a:buFont typeface="Arial" panose="020B0604020202020204" pitchFamily="34" charset="0"/>
              <a:buChar char="•"/>
              <a:tabLst/>
              <a:defRPr b="0" i="0">
                <a:solidFill>
                  <a:schemeClr val="bg1"/>
                </a:solidFill>
                <a:latin typeface="Ted Next Medium" panose="020B0602030202020203" pitchFamily="34" charset="77"/>
              </a:defRPr>
            </a:lvl5pPr>
          </a:lstStyle>
          <a:p>
            <a:pPr lvl="0"/>
            <a:r>
              <a:rPr lang="en-US"/>
              <a:t>Click to edit Master text styles</a:t>
            </a:r>
          </a:p>
        </p:txBody>
      </p:sp>
      <p:sp>
        <p:nvSpPr>
          <p:cNvPr id="18" name="Text Placeholder 6">
            <a:extLst>
              <a:ext uri="{FF2B5EF4-FFF2-40B4-BE49-F238E27FC236}">
                <a16:creationId xmlns:a16="http://schemas.microsoft.com/office/drawing/2014/main" id="{AA696B75-E771-DB73-0A52-CC75F27E511C}"/>
              </a:ext>
            </a:extLst>
          </p:cNvPr>
          <p:cNvSpPr>
            <a:spLocks noGrp="1"/>
          </p:cNvSpPr>
          <p:nvPr>
            <p:ph type="body" sz="quarter" idx="25"/>
          </p:nvPr>
        </p:nvSpPr>
        <p:spPr>
          <a:xfrm>
            <a:off x="601662" y="1354440"/>
            <a:ext cx="5150551"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9" name="Text Placeholder 6">
            <a:extLst>
              <a:ext uri="{FF2B5EF4-FFF2-40B4-BE49-F238E27FC236}">
                <a16:creationId xmlns:a16="http://schemas.microsoft.com/office/drawing/2014/main" id="{1EDFCD20-040C-2CA3-8D0F-BF1522849137}"/>
              </a:ext>
            </a:extLst>
          </p:cNvPr>
          <p:cNvSpPr>
            <a:spLocks noGrp="1"/>
          </p:cNvSpPr>
          <p:nvPr>
            <p:ph type="body" sz="quarter" idx="26"/>
          </p:nvPr>
        </p:nvSpPr>
        <p:spPr>
          <a:xfrm>
            <a:off x="6298015"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5722229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Col Text with Headline + Points (Red)">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BDDEBB7-F7D6-F35C-5702-3397AAD97AF1}"/>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5" name="Text Placeholder 4">
            <a:extLst>
              <a:ext uri="{FF2B5EF4-FFF2-40B4-BE49-F238E27FC236}">
                <a16:creationId xmlns:a16="http://schemas.microsoft.com/office/drawing/2014/main" id="{AAE2485D-E6C5-BBAB-463B-79C0CFC8AAB4}"/>
              </a:ext>
            </a:extLst>
          </p:cNvPr>
          <p:cNvSpPr>
            <a:spLocks noGrp="1"/>
          </p:cNvSpPr>
          <p:nvPr>
            <p:ph type="body" sz="quarter" idx="13" hasCustomPrompt="1"/>
          </p:nvPr>
        </p:nvSpPr>
        <p:spPr>
          <a:xfrm>
            <a:off x="6298015" y="1926936"/>
            <a:ext cx="355270" cy="355270"/>
          </a:xfrm>
          <a:prstGeom prst="ellipse">
            <a:avLst/>
          </a:prstGeom>
          <a:solidFill>
            <a:schemeClr val="tx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7" name="Text Placeholder 4">
            <a:extLst>
              <a:ext uri="{FF2B5EF4-FFF2-40B4-BE49-F238E27FC236}">
                <a16:creationId xmlns:a16="http://schemas.microsoft.com/office/drawing/2014/main" id="{B723E3BA-0B2C-17F8-A058-68F15CDBA98E}"/>
              </a:ext>
            </a:extLst>
          </p:cNvPr>
          <p:cNvSpPr>
            <a:spLocks noGrp="1"/>
          </p:cNvSpPr>
          <p:nvPr>
            <p:ph type="body" sz="quarter" idx="14"/>
          </p:nvPr>
        </p:nvSpPr>
        <p:spPr>
          <a:xfrm>
            <a:off x="6869670" y="1906597"/>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E26A827D-7FFA-BDC9-3C44-94FDF86825E6}"/>
              </a:ext>
            </a:extLst>
          </p:cNvPr>
          <p:cNvSpPr>
            <a:spLocks noGrp="1"/>
          </p:cNvSpPr>
          <p:nvPr>
            <p:ph type="body" sz="quarter" idx="15" hasCustomPrompt="1"/>
          </p:nvPr>
        </p:nvSpPr>
        <p:spPr>
          <a:xfrm>
            <a:off x="6298015" y="2611992"/>
            <a:ext cx="355270" cy="355270"/>
          </a:xfrm>
          <a:prstGeom prst="ellipse">
            <a:avLst/>
          </a:prstGeom>
          <a:solidFill>
            <a:schemeClr val="tx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0" name="Text Placeholder 4">
            <a:extLst>
              <a:ext uri="{FF2B5EF4-FFF2-40B4-BE49-F238E27FC236}">
                <a16:creationId xmlns:a16="http://schemas.microsoft.com/office/drawing/2014/main" id="{D35F0C63-E340-BF66-3F80-46A0E1711C47}"/>
              </a:ext>
            </a:extLst>
          </p:cNvPr>
          <p:cNvSpPr>
            <a:spLocks noGrp="1"/>
          </p:cNvSpPr>
          <p:nvPr>
            <p:ph type="body" sz="quarter" idx="16"/>
          </p:nvPr>
        </p:nvSpPr>
        <p:spPr>
          <a:xfrm>
            <a:off x="6869670" y="2591653"/>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BD1C4246-4912-2971-5806-C968219459A9}"/>
              </a:ext>
            </a:extLst>
          </p:cNvPr>
          <p:cNvSpPr>
            <a:spLocks noGrp="1"/>
          </p:cNvSpPr>
          <p:nvPr>
            <p:ph type="body" sz="quarter" idx="17" hasCustomPrompt="1"/>
          </p:nvPr>
        </p:nvSpPr>
        <p:spPr>
          <a:xfrm>
            <a:off x="6298015" y="3297048"/>
            <a:ext cx="355270" cy="355270"/>
          </a:xfrm>
          <a:prstGeom prst="ellipse">
            <a:avLst/>
          </a:prstGeom>
          <a:solidFill>
            <a:schemeClr val="tx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2" name="Text Placeholder 4">
            <a:extLst>
              <a:ext uri="{FF2B5EF4-FFF2-40B4-BE49-F238E27FC236}">
                <a16:creationId xmlns:a16="http://schemas.microsoft.com/office/drawing/2014/main" id="{D979409E-8DF8-3663-F4F2-F0F82A4BFA5A}"/>
              </a:ext>
            </a:extLst>
          </p:cNvPr>
          <p:cNvSpPr>
            <a:spLocks noGrp="1"/>
          </p:cNvSpPr>
          <p:nvPr>
            <p:ph type="body" sz="quarter" idx="18"/>
          </p:nvPr>
        </p:nvSpPr>
        <p:spPr>
          <a:xfrm>
            <a:off x="6869670" y="3276709"/>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DA063719-2961-B1A1-EF29-8F59D708272A}"/>
              </a:ext>
            </a:extLst>
          </p:cNvPr>
          <p:cNvSpPr>
            <a:spLocks noGrp="1"/>
          </p:cNvSpPr>
          <p:nvPr>
            <p:ph type="body" sz="quarter" idx="19" hasCustomPrompt="1"/>
          </p:nvPr>
        </p:nvSpPr>
        <p:spPr>
          <a:xfrm>
            <a:off x="6298015" y="3982104"/>
            <a:ext cx="355270" cy="355270"/>
          </a:xfrm>
          <a:prstGeom prst="ellipse">
            <a:avLst/>
          </a:prstGeom>
          <a:solidFill>
            <a:schemeClr val="tx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4" name="Text Placeholder 4">
            <a:extLst>
              <a:ext uri="{FF2B5EF4-FFF2-40B4-BE49-F238E27FC236}">
                <a16:creationId xmlns:a16="http://schemas.microsoft.com/office/drawing/2014/main" id="{A0778199-60AE-6591-B8F8-4DB482788470}"/>
              </a:ext>
            </a:extLst>
          </p:cNvPr>
          <p:cNvSpPr>
            <a:spLocks noGrp="1"/>
          </p:cNvSpPr>
          <p:nvPr>
            <p:ph type="body" sz="quarter" idx="20"/>
          </p:nvPr>
        </p:nvSpPr>
        <p:spPr>
          <a:xfrm>
            <a:off x="6869670" y="3961765"/>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043300F1-1E0A-20DF-C655-3D28FCFCE0C5}"/>
              </a:ext>
            </a:extLst>
          </p:cNvPr>
          <p:cNvSpPr>
            <a:spLocks noGrp="1"/>
          </p:cNvSpPr>
          <p:nvPr>
            <p:ph type="body" sz="quarter" idx="21" hasCustomPrompt="1"/>
          </p:nvPr>
        </p:nvSpPr>
        <p:spPr>
          <a:xfrm>
            <a:off x="6298015" y="4667160"/>
            <a:ext cx="355270" cy="355270"/>
          </a:xfrm>
          <a:prstGeom prst="ellipse">
            <a:avLst/>
          </a:prstGeom>
          <a:solidFill>
            <a:schemeClr val="tx1"/>
          </a:solidFill>
        </p:spPr>
        <p:txBody>
          <a:bodyPr anchor="ctr">
            <a:noAutofit/>
          </a:bodyPr>
          <a:lstStyle>
            <a:lvl1pPr algn="ctr">
              <a:defRPr sz="1200" b="1" i="0">
                <a:solidFill>
                  <a:schemeClr val="bg1"/>
                </a:solidFill>
                <a:latin typeface="Ted Next DemiBold"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X</a:t>
            </a:r>
          </a:p>
        </p:txBody>
      </p:sp>
      <p:sp>
        <p:nvSpPr>
          <p:cNvPr id="16" name="Text Placeholder 4">
            <a:extLst>
              <a:ext uri="{FF2B5EF4-FFF2-40B4-BE49-F238E27FC236}">
                <a16:creationId xmlns:a16="http://schemas.microsoft.com/office/drawing/2014/main" id="{01ABA218-EF45-0215-9409-88316943A008}"/>
              </a:ext>
            </a:extLst>
          </p:cNvPr>
          <p:cNvSpPr>
            <a:spLocks noGrp="1"/>
          </p:cNvSpPr>
          <p:nvPr>
            <p:ph type="body" sz="quarter" idx="22"/>
          </p:nvPr>
        </p:nvSpPr>
        <p:spPr>
          <a:xfrm>
            <a:off x="6869670" y="4646821"/>
            <a:ext cx="4728605" cy="395949"/>
          </a:xfrm>
          <a:prstGeom prst="rect">
            <a:avLst/>
          </a:prstGeom>
          <a:noFill/>
        </p:spPr>
        <p:txBody>
          <a:bodyPr anchor="ctr">
            <a:normAutofit/>
          </a:bodyPr>
          <a:lstStyle>
            <a:lvl1pPr algn="l">
              <a:defRPr sz="1600" b="0" i="0">
                <a:solidFill>
                  <a:schemeClr val="bg1"/>
                </a:solidFill>
                <a:latin typeface="Ted Next Medium" panose="020B0602030202020203"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 name="Title 1">
            <a:extLst>
              <a:ext uri="{FF2B5EF4-FFF2-40B4-BE49-F238E27FC236}">
                <a16:creationId xmlns:a16="http://schemas.microsoft.com/office/drawing/2014/main" id="{C7528041-2864-5099-4A81-BCDDCD6235D1}"/>
              </a:ext>
            </a:extLst>
          </p:cNvPr>
          <p:cNvSpPr>
            <a:spLocks noGrp="1"/>
          </p:cNvSpPr>
          <p:nvPr>
            <p:ph type="title"/>
          </p:nvPr>
        </p:nvSpPr>
        <p:spPr>
          <a:xfrm>
            <a:off x="601663" y="365125"/>
            <a:ext cx="10988674" cy="387798"/>
          </a:xfrm>
        </p:spPr>
        <p:txBody>
          <a:bodyPr/>
          <a:lstStyle>
            <a:lvl1pPr>
              <a:defRPr>
                <a:solidFill>
                  <a:srgbClr val="FFFFFF"/>
                </a:solidFill>
              </a:defRPr>
            </a:lvl1pPr>
          </a:lstStyle>
          <a:p>
            <a:r>
              <a:rPr lang="en-US"/>
              <a:t>Click to edit Master title style</a:t>
            </a:r>
          </a:p>
        </p:txBody>
      </p:sp>
      <p:sp>
        <p:nvSpPr>
          <p:cNvPr id="8" name="Text Placeholder 6">
            <a:extLst>
              <a:ext uri="{FF2B5EF4-FFF2-40B4-BE49-F238E27FC236}">
                <a16:creationId xmlns:a16="http://schemas.microsoft.com/office/drawing/2014/main" id="{605C893B-4F66-3DCE-9923-22B97C51E993}"/>
              </a:ext>
            </a:extLst>
          </p:cNvPr>
          <p:cNvSpPr>
            <a:spLocks noGrp="1"/>
          </p:cNvSpPr>
          <p:nvPr>
            <p:ph type="body" sz="quarter" idx="2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9" name="Text Placeholder 6">
            <a:extLst>
              <a:ext uri="{FF2B5EF4-FFF2-40B4-BE49-F238E27FC236}">
                <a16:creationId xmlns:a16="http://schemas.microsoft.com/office/drawing/2014/main" id="{1EDFCD20-040C-2CA3-8D0F-BF1522849137}"/>
              </a:ext>
            </a:extLst>
          </p:cNvPr>
          <p:cNvSpPr>
            <a:spLocks noGrp="1"/>
          </p:cNvSpPr>
          <p:nvPr>
            <p:ph type="body" sz="quarter" idx="26"/>
          </p:nvPr>
        </p:nvSpPr>
        <p:spPr>
          <a:xfrm>
            <a:off x="6298015" y="1354440"/>
            <a:ext cx="5313263"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 name="Freeform 1">
            <a:extLst>
              <a:ext uri="{FF2B5EF4-FFF2-40B4-BE49-F238E27FC236}">
                <a16:creationId xmlns:a16="http://schemas.microsoft.com/office/drawing/2014/main" id="{1E3B3F8B-C50D-1C2D-50A7-8BCA9763D1C3}"/>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
        <p:nvSpPr>
          <p:cNvPr id="3" name="Text Placeholder 6">
            <a:extLst>
              <a:ext uri="{FF2B5EF4-FFF2-40B4-BE49-F238E27FC236}">
                <a16:creationId xmlns:a16="http://schemas.microsoft.com/office/drawing/2014/main" id="{5A68DC9F-0D9E-7833-68CF-3013A3D63B3E}"/>
              </a:ext>
            </a:extLst>
          </p:cNvPr>
          <p:cNvSpPr>
            <a:spLocks noGrp="1"/>
          </p:cNvSpPr>
          <p:nvPr>
            <p:ph type="body" sz="quarter" idx="24"/>
          </p:nvPr>
        </p:nvSpPr>
        <p:spPr>
          <a:xfrm>
            <a:off x="601663" y="1777322"/>
            <a:ext cx="5150551" cy="3168650"/>
          </a:xfrm>
        </p:spPr>
        <p:txBody>
          <a:bodyPr/>
          <a:lstStyle>
            <a:lvl1pPr>
              <a:defRPr b="0" i="0">
                <a:solidFill>
                  <a:schemeClr val="bg1"/>
                </a:solidFill>
                <a:latin typeface="Ted Next Medium" panose="020B0602030202020203" pitchFamily="34" charset="77"/>
              </a:defRPr>
            </a:lvl1pPr>
            <a:lvl2pPr marL="360000" indent="-173038">
              <a:buClr>
                <a:schemeClr val="accent1"/>
              </a:buClr>
              <a:buFont typeface="Arial" panose="020B0604020202020204" pitchFamily="34" charset="0"/>
              <a:buChar char="•"/>
              <a:tabLst/>
              <a:defRPr b="0" i="0">
                <a:solidFill>
                  <a:schemeClr val="bg1"/>
                </a:solidFill>
                <a:latin typeface="Ted Next Medium" panose="020B0602030202020203" pitchFamily="34" charset="77"/>
              </a:defRPr>
            </a:lvl2pPr>
            <a:lvl3pPr marL="720000" indent="-173038">
              <a:buClr>
                <a:schemeClr val="accent1"/>
              </a:buClr>
              <a:buFont typeface="Courier New" panose="02070309020205020404" pitchFamily="49" charset="0"/>
              <a:buChar char="o"/>
              <a:tabLst/>
              <a:defRPr b="0" i="0">
                <a:solidFill>
                  <a:schemeClr val="bg1"/>
                </a:solidFill>
                <a:latin typeface="Ted Next Medium" panose="020B0602030202020203" pitchFamily="34" charset="77"/>
              </a:defRPr>
            </a:lvl3pPr>
            <a:lvl4pPr marL="1080000" indent="-173038">
              <a:buClr>
                <a:schemeClr val="accent1"/>
              </a:buClr>
              <a:buFont typeface="Wingdings" pitchFamily="2" charset="2"/>
              <a:buChar char="§"/>
              <a:tabLst/>
              <a:defRPr b="0" i="0">
                <a:solidFill>
                  <a:schemeClr val="bg1"/>
                </a:solidFill>
                <a:latin typeface="Ted Next Medium" panose="020B0602030202020203" pitchFamily="34" charset="77"/>
              </a:defRPr>
            </a:lvl4pPr>
            <a:lvl5pPr marL="1440000" indent="-173038">
              <a:buClr>
                <a:schemeClr val="accent1"/>
              </a:buClr>
              <a:buFont typeface="Arial" panose="020B0604020202020204" pitchFamily="34" charset="0"/>
              <a:buChar char="•"/>
              <a:tabLst/>
              <a:defRPr b="0" i="0">
                <a:solidFill>
                  <a:schemeClr val="bg1"/>
                </a:solidFill>
                <a:latin typeface="Ted Next Medium" panose="020B0602030202020203" pitchFamily="34" charset="77"/>
              </a:defRPr>
            </a:lvl5pPr>
          </a:lstStyle>
          <a:p>
            <a:pPr lvl="0"/>
            <a:r>
              <a:rPr lang="en-US"/>
              <a:t>Click to edit Master text styles</a:t>
            </a:r>
          </a:p>
        </p:txBody>
      </p:sp>
      <p:sp>
        <p:nvSpPr>
          <p:cNvPr id="20" name="Text Placeholder 6">
            <a:extLst>
              <a:ext uri="{FF2B5EF4-FFF2-40B4-BE49-F238E27FC236}">
                <a16:creationId xmlns:a16="http://schemas.microsoft.com/office/drawing/2014/main" id="{4C688633-1B58-38ED-8201-AB400CE1C30D}"/>
              </a:ext>
            </a:extLst>
          </p:cNvPr>
          <p:cNvSpPr>
            <a:spLocks noGrp="1"/>
          </p:cNvSpPr>
          <p:nvPr>
            <p:ph type="body" sz="quarter" idx="25"/>
          </p:nvPr>
        </p:nvSpPr>
        <p:spPr>
          <a:xfrm>
            <a:off x="601662" y="1354440"/>
            <a:ext cx="5150551" cy="357659"/>
          </a:xfrm>
        </p:spPr>
        <p:txBody>
          <a:bodyPr anchor="b">
            <a:noAutofit/>
          </a:bodyPr>
          <a:lstStyle>
            <a:lvl1pPr>
              <a:lnSpc>
                <a:spcPct val="80000"/>
              </a:lnSpc>
              <a:defRPr sz="2000" b="1" i="0">
                <a:solidFill>
                  <a:schemeClr val="bg1"/>
                </a:solidFill>
                <a:latin typeface="Ted Next"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40255877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 Huge Text + R Pull Quote/Statem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a:xfrm>
            <a:off x="601663" y="365125"/>
            <a:ext cx="10988674" cy="3877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9" name="Text Placeholder 8">
            <a:extLst>
              <a:ext uri="{FF2B5EF4-FFF2-40B4-BE49-F238E27FC236}">
                <a16:creationId xmlns:a16="http://schemas.microsoft.com/office/drawing/2014/main" id="{DB711D72-36CE-130E-23D1-226C7D720577}"/>
              </a:ext>
            </a:extLst>
          </p:cNvPr>
          <p:cNvSpPr>
            <a:spLocks noGrp="1"/>
          </p:cNvSpPr>
          <p:nvPr>
            <p:ph type="body" sz="quarter" idx="15"/>
          </p:nvPr>
        </p:nvSpPr>
        <p:spPr>
          <a:xfrm>
            <a:off x="601662" y="1857150"/>
            <a:ext cx="6945879" cy="3563423"/>
          </a:xfrm>
        </p:spPr>
        <p:txBody>
          <a:bodyPr lIns="0" tIns="0" rIns="0" bIns="0" anchor="ctr">
            <a:noAutofit/>
          </a:bodyPr>
          <a:lstStyle>
            <a:lvl1pPr marL="285750" indent="-285750" algn="l">
              <a:spcBef>
                <a:spcPts val="0"/>
              </a:spcBef>
              <a:spcAft>
                <a:spcPts val="500"/>
              </a:spcAft>
              <a:buFont typeface="Arial" panose="020B0604020202020204" pitchFamily="34" charset="0"/>
              <a:buChar char="•"/>
              <a:defRPr sz="3200">
                <a:solidFill>
                  <a:schemeClr val="bg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0"/>
            <a:r>
              <a:rPr lang="en-US"/>
              <a:t>Click to edit Master text styles</a:t>
            </a:r>
          </a:p>
          <a:p>
            <a:pPr lvl="0"/>
            <a:r>
              <a:rPr lang="en-US"/>
              <a:t>Click to edit Master text styles</a:t>
            </a:r>
          </a:p>
        </p:txBody>
      </p:sp>
      <p:sp>
        <p:nvSpPr>
          <p:cNvPr id="11" name="Text Placeholder 8">
            <a:extLst>
              <a:ext uri="{FF2B5EF4-FFF2-40B4-BE49-F238E27FC236}">
                <a16:creationId xmlns:a16="http://schemas.microsoft.com/office/drawing/2014/main" id="{973945ED-2537-42DE-DB13-4966191D49C2}"/>
              </a:ext>
            </a:extLst>
          </p:cNvPr>
          <p:cNvSpPr>
            <a:spLocks noGrp="1"/>
          </p:cNvSpPr>
          <p:nvPr>
            <p:ph type="body" sz="quarter" idx="17"/>
          </p:nvPr>
        </p:nvSpPr>
        <p:spPr>
          <a:xfrm>
            <a:off x="8348939" y="1857150"/>
            <a:ext cx="3241398" cy="3563423"/>
          </a:xfrm>
        </p:spPr>
        <p:txBody>
          <a:bodyPr lIns="0" tIns="0" rIns="0" bIns="0" anchor="ctr">
            <a:noAutofit/>
          </a:bodyPr>
          <a:lstStyle>
            <a:lvl1pPr marL="0" indent="0" algn="ctr">
              <a:lnSpc>
                <a:spcPct val="85000"/>
              </a:lnSpc>
              <a:buNone/>
              <a:defRPr sz="4000">
                <a:solidFill>
                  <a:schemeClr val="bg1"/>
                </a:solidFill>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cxnSp>
        <p:nvCxnSpPr>
          <p:cNvPr id="20" name="Google Shape;295;p35">
            <a:extLst>
              <a:ext uri="{FF2B5EF4-FFF2-40B4-BE49-F238E27FC236}">
                <a16:creationId xmlns:a16="http://schemas.microsoft.com/office/drawing/2014/main" id="{576DF71A-7024-C635-8719-351D054EFC4D}"/>
              </a:ext>
            </a:extLst>
          </p:cNvPr>
          <p:cNvCxnSpPr>
            <a:cxnSpLocks/>
          </p:cNvCxnSpPr>
          <p:nvPr userDrawn="1"/>
        </p:nvCxnSpPr>
        <p:spPr>
          <a:xfrm>
            <a:off x="7948240" y="1482990"/>
            <a:ext cx="0" cy="4311742"/>
          </a:xfrm>
          <a:prstGeom prst="straightConnector1">
            <a:avLst/>
          </a:prstGeom>
          <a:noFill/>
          <a:ln w="28575" cap="flat" cmpd="sng">
            <a:solidFill>
              <a:schemeClr val="bg1"/>
            </a:solidFill>
            <a:prstDash val="solid"/>
            <a:round/>
            <a:headEnd type="none" w="med" len="med"/>
            <a:tailEnd type="none" w="med" len="med"/>
          </a:ln>
        </p:spPr>
      </p:cxnSp>
      <p:sp>
        <p:nvSpPr>
          <p:cNvPr id="17" name="Text Placeholder 6">
            <a:extLst>
              <a:ext uri="{FF2B5EF4-FFF2-40B4-BE49-F238E27FC236}">
                <a16:creationId xmlns:a16="http://schemas.microsoft.com/office/drawing/2014/main" id="{9CD39E2E-3B6A-79DD-2253-B30611C2F746}"/>
              </a:ext>
            </a:extLst>
          </p:cNvPr>
          <p:cNvSpPr>
            <a:spLocks noGrp="1"/>
          </p:cNvSpPr>
          <p:nvPr>
            <p:ph type="body" sz="quarter" idx="23"/>
          </p:nvPr>
        </p:nvSpPr>
        <p:spPr>
          <a:xfrm>
            <a:off x="601663" y="752475"/>
            <a:ext cx="10996612" cy="279400"/>
          </a:xfrm>
        </p:spPr>
        <p:txBody>
          <a:bodyPr>
            <a:noAutofit/>
          </a:bodyPr>
          <a:lstStyle>
            <a:lvl1pPr>
              <a:defRPr sz="2000" b="0" i="0">
                <a:solidFill>
                  <a:srgbClr val="FFFFFF"/>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9" name="Freeform 18">
            <a:extLst>
              <a:ext uri="{FF2B5EF4-FFF2-40B4-BE49-F238E27FC236}">
                <a16:creationId xmlns:a16="http://schemas.microsoft.com/office/drawing/2014/main" id="{F3FAC16D-11E3-26CC-D505-DC420DF93462}"/>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21974933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2 Charts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p>
            <a:fld id="{37FA3778-6BAA-AD46-B30E-6B3D07CF735F}" type="slidenum">
              <a:rPr lang="en-US" smtClean="0"/>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tx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298015" y="1354137"/>
            <a:ext cx="5300259" cy="4751387"/>
          </a:xfrm>
        </p:spPr>
        <p:txBody>
          <a:bodyPr anchor="ctr"/>
          <a:lstStyle>
            <a:lvl1pPr algn="ctr">
              <a:defRPr/>
            </a:lvl1pPr>
          </a:lstStyle>
          <a:p>
            <a:r>
              <a:rPr lang="en-US"/>
              <a:t>Click icon to add chart</a:t>
            </a:r>
          </a:p>
        </p:txBody>
      </p:sp>
      <p:sp>
        <p:nvSpPr>
          <p:cNvPr id="8" name="Chart Placeholder 10">
            <a:extLst>
              <a:ext uri="{FF2B5EF4-FFF2-40B4-BE49-F238E27FC236}">
                <a16:creationId xmlns:a16="http://schemas.microsoft.com/office/drawing/2014/main" id="{83920614-EDE0-18A0-F52F-DF43EBF71CEE}"/>
              </a:ext>
            </a:extLst>
          </p:cNvPr>
          <p:cNvSpPr>
            <a:spLocks noGrp="1"/>
          </p:cNvSpPr>
          <p:nvPr>
            <p:ph type="chart" sz="quarter" idx="18"/>
          </p:nvPr>
        </p:nvSpPr>
        <p:spPr>
          <a:xfrm>
            <a:off x="601662" y="1354137"/>
            <a:ext cx="5300259" cy="4751387"/>
          </a:xfrm>
        </p:spPr>
        <p:txBody>
          <a:bodyPr anchor="ctr"/>
          <a:lstStyle>
            <a:lvl1pPr algn="ctr">
              <a:defRPr/>
            </a:lvl1pPr>
          </a:lstStyle>
          <a:p>
            <a:r>
              <a:rPr lang="en-US"/>
              <a:t>Click icon to add chart</a:t>
            </a:r>
          </a:p>
        </p:txBody>
      </p:sp>
    </p:spTree>
    <p:extLst>
      <p:ext uri="{BB962C8B-B14F-4D97-AF65-F5344CB8AC3E}">
        <p14:creationId xmlns:p14="http://schemas.microsoft.com/office/powerpoint/2010/main" val="1446175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2 Charts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298015" y="1354137"/>
            <a:ext cx="5300259" cy="4751387"/>
          </a:xfrm>
        </p:spPr>
        <p:txBody>
          <a:bodyPr anchor="ctr"/>
          <a:lstStyle>
            <a:lvl1pPr algn="ctr">
              <a:defRPr>
                <a:solidFill>
                  <a:schemeClr val="bg1"/>
                </a:solidFill>
              </a:defRPr>
            </a:lvl1pPr>
          </a:lstStyle>
          <a:p>
            <a:r>
              <a:rPr lang="en-US"/>
              <a:t>Click icon to add chart</a:t>
            </a:r>
          </a:p>
        </p:txBody>
      </p:sp>
      <p:sp>
        <p:nvSpPr>
          <p:cNvPr id="8" name="Chart Placeholder 10">
            <a:extLst>
              <a:ext uri="{FF2B5EF4-FFF2-40B4-BE49-F238E27FC236}">
                <a16:creationId xmlns:a16="http://schemas.microsoft.com/office/drawing/2014/main" id="{83920614-EDE0-18A0-F52F-DF43EBF71CEE}"/>
              </a:ext>
            </a:extLst>
          </p:cNvPr>
          <p:cNvSpPr>
            <a:spLocks noGrp="1"/>
          </p:cNvSpPr>
          <p:nvPr>
            <p:ph type="chart" sz="quarter" idx="18"/>
          </p:nvPr>
        </p:nvSpPr>
        <p:spPr>
          <a:xfrm>
            <a:off x="601662" y="1354137"/>
            <a:ext cx="5300259" cy="4751387"/>
          </a:xfrm>
        </p:spPr>
        <p:txBody>
          <a:bodyPr anchor="ctr"/>
          <a:lstStyle>
            <a:lvl1pPr algn="ctr">
              <a:defRPr>
                <a:solidFill>
                  <a:schemeClr val="bg1"/>
                </a:solidFill>
              </a:defRPr>
            </a:lvl1pPr>
          </a:lstStyle>
          <a:p>
            <a:r>
              <a:rPr lang="en-US"/>
              <a:t>Click icon to add chart</a:t>
            </a:r>
          </a:p>
        </p:txBody>
      </p:sp>
    </p:spTree>
    <p:extLst>
      <p:ext uri="{BB962C8B-B14F-4D97-AF65-F5344CB8AC3E}">
        <p14:creationId xmlns:p14="http://schemas.microsoft.com/office/powerpoint/2010/main" val="1848817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 2 Charts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B59-3067-92C1-C522-A38A3F5A057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2885ADB6-B187-63CD-A94A-09E72848ECB6}"/>
              </a:ext>
            </a:extLst>
          </p:cNvPr>
          <p:cNvSpPr>
            <a:spLocks noGrp="1"/>
          </p:cNvSpPr>
          <p:nvPr>
            <p:ph type="sldNum" sz="quarter" idx="12"/>
          </p:nvPr>
        </p:nvSpPr>
        <p:spPr/>
        <p:txBody>
          <a:bodyPr/>
          <a:lstStyle>
            <a:lvl1pPr>
              <a:defRPr>
                <a:solidFill>
                  <a:schemeClr val="bg1"/>
                </a:solidFill>
              </a:defRPr>
            </a:lvl1pPr>
          </a:lstStyle>
          <a:p>
            <a:fld id="{37FA3778-6BAA-AD46-B30E-6B3D07CF735F}" type="slidenum">
              <a:rPr lang="en-US" smtClean="0"/>
              <a:pPr/>
              <a:t>‹#›</a:t>
            </a:fld>
            <a:endParaRPr lang="en-US"/>
          </a:p>
        </p:txBody>
      </p:sp>
      <p:sp>
        <p:nvSpPr>
          <p:cNvPr id="4" name="Text Placeholder 6">
            <a:extLst>
              <a:ext uri="{FF2B5EF4-FFF2-40B4-BE49-F238E27FC236}">
                <a16:creationId xmlns:a16="http://schemas.microsoft.com/office/drawing/2014/main" id="{0D1A5F5E-B076-7BDA-6C2D-764380FC5A87}"/>
              </a:ext>
            </a:extLst>
          </p:cNvPr>
          <p:cNvSpPr>
            <a:spLocks noGrp="1"/>
          </p:cNvSpPr>
          <p:nvPr>
            <p:ph type="body" sz="quarter" idx="13"/>
          </p:nvPr>
        </p:nvSpPr>
        <p:spPr>
          <a:xfrm>
            <a:off x="601663" y="752475"/>
            <a:ext cx="10996612" cy="279400"/>
          </a:xfrm>
        </p:spPr>
        <p:txBody>
          <a:bodyPr>
            <a:noAutofit/>
          </a:bodyPr>
          <a:lstStyle>
            <a:lvl1pPr>
              <a:defRPr sz="2000" b="0" i="0">
                <a:solidFill>
                  <a:schemeClr val="bg1"/>
                </a:solidFill>
                <a:latin typeface="Ted Next DemiBold" panose="020B0602030202020203" pitchFamily="34" charset="77"/>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1" name="Chart Placeholder 10">
            <a:extLst>
              <a:ext uri="{FF2B5EF4-FFF2-40B4-BE49-F238E27FC236}">
                <a16:creationId xmlns:a16="http://schemas.microsoft.com/office/drawing/2014/main" id="{9D8CF955-6465-615C-2491-6FA38CDC21CC}"/>
              </a:ext>
            </a:extLst>
          </p:cNvPr>
          <p:cNvSpPr>
            <a:spLocks noGrp="1"/>
          </p:cNvSpPr>
          <p:nvPr>
            <p:ph type="chart" sz="quarter" idx="15"/>
          </p:nvPr>
        </p:nvSpPr>
        <p:spPr>
          <a:xfrm>
            <a:off x="6298015" y="1354137"/>
            <a:ext cx="5300259" cy="4751387"/>
          </a:xfrm>
        </p:spPr>
        <p:txBody>
          <a:bodyPr anchor="ctr"/>
          <a:lstStyle>
            <a:lvl1pPr algn="ctr">
              <a:defRPr>
                <a:solidFill>
                  <a:schemeClr val="bg1"/>
                </a:solidFill>
              </a:defRPr>
            </a:lvl1pPr>
          </a:lstStyle>
          <a:p>
            <a:r>
              <a:rPr lang="en-US"/>
              <a:t>Click icon to add chart</a:t>
            </a:r>
          </a:p>
        </p:txBody>
      </p:sp>
      <p:sp>
        <p:nvSpPr>
          <p:cNvPr id="8" name="Chart Placeholder 10">
            <a:extLst>
              <a:ext uri="{FF2B5EF4-FFF2-40B4-BE49-F238E27FC236}">
                <a16:creationId xmlns:a16="http://schemas.microsoft.com/office/drawing/2014/main" id="{83920614-EDE0-18A0-F52F-DF43EBF71CEE}"/>
              </a:ext>
            </a:extLst>
          </p:cNvPr>
          <p:cNvSpPr>
            <a:spLocks noGrp="1"/>
          </p:cNvSpPr>
          <p:nvPr>
            <p:ph type="chart" sz="quarter" idx="18"/>
          </p:nvPr>
        </p:nvSpPr>
        <p:spPr>
          <a:xfrm>
            <a:off x="601662" y="1354137"/>
            <a:ext cx="5300259" cy="4751387"/>
          </a:xfrm>
        </p:spPr>
        <p:txBody>
          <a:bodyPr anchor="ctr"/>
          <a:lstStyle>
            <a:lvl1pPr algn="ctr">
              <a:defRPr>
                <a:solidFill>
                  <a:schemeClr val="bg1"/>
                </a:solidFill>
              </a:defRPr>
            </a:lvl1pPr>
          </a:lstStyle>
          <a:p>
            <a:r>
              <a:rPr lang="en-US"/>
              <a:t>Click icon to add chart</a:t>
            </a:r>
          </a:p>
        </p:txBody>
      </p:sp>
      <p:sp>
        <p:nvSpPr>
          <p:cNvPr id="3" name="Freeform 2">
            <a:extLst>
              <a:ext uri="{FF2B5EF4-FFF2-40B4-BE49-F238E27FC236}">
                <a16:creationId xmlns:a16="http://schemas.microsoft.com/office/drawing/2014/main" id="{0E70AF12-0D10-1221-655A-CF952DFB367F}"/>
              </a:ext>
              <a:ext uri="{C183D7F6-B498-43B3-948B-1728B52AA6E4}">
                <adec:decorative xmlns:adec="http://schemas.microsoft.com/office/drawing/2017/decorative" val="1"/>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chemeClr val="bg1"/>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3484449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FB8EE-BFA2-0A30-F530-553CB2EC9BA0}"/>
              </a:ext>
            </a:extLst>
          </p:cNvPr>
          <p:cNvSpPr>
            <a:spLocks noGrp="1"/>
          </p:cNvSpPr>
          <p:nvPr>
            <p:ph type="title"/>
          </p:nvPr>
        </p:nvSpPr>
        <p:spPr>
          <a:xfrm>
            <a:off x="601663" y="365125"/>
            <a:ext cx="10988674" cy="387798"/>
          </a:xfrm>
          <a:prstGeom prst="rect">
            <a:avLst/>
          </a:prstGeom>
        </p:spPr>
        <p:txBody>
          <a:bodyPr vert="horz" lIns="0" tIns="0" rIns="0" bIns="0" rtlCol="0" anchor="t">
            <a:normAutofit/>
          </a:bodyPr>
          <a:lstStyle/>
          <a:p>
            <a:r>
              <a:rPr lang="en-US"/>
              <a:t>Click to edit Master title</a:t>
            </a:r>
          </a:p>
        </p:txBody>
      </p:sp>
      <p:sp>
        <p:nvSpPr>
          <p:cNvPr id="3" name="Text Placeholder 2">
            <a:extLst>
              <a:ext uri="{FF2B5EF4-FFF2-40B4-BE49-F238E27FC236}">
                <a16:creationId xmlns:a16="http://schemas.microsoft.com/office/drawing/2014/main" id="{52D8EAC7-C450-B26B-C1E4-DF4BFB6594FE}"/>
              </a:ext>
            </a:extLst>
          </p:cNvPr>
          <p:cNvSpPr>
            <a:spLocks noGrp="1"/>
          </p:cNvSpPr>
          <p:nvPr>
            <p:ph type="body" idx="1"/>
          </p:nvPr>
        </p:nvSpPr>
        <p:spPr>
          <a:xfrm>
            <a:off x="601663" y="1351237"/>
            <a:ext cx="10988674" cy="31382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CC0B04-EFF2-C453-A4EA-A440B2E42D4C}"/>
              </a:ext>
            </a:extLst>
          </p:cNvPr>
          <p:cNvSpPr>
            <a:spLocks noGrp="1"/>
          </p:cNvSpPr>
          <p:nvPr>
            <p:ph type="sldNum" sz="quarter" idx="4"/>
          </p:nvPr>
        </p:nvSpPr>
        <p:spPr>
          <a:xfrm>
            <a:off x="601663" y="6400542"/>
            <a:ext cx="594620" cy="184666"/>
          </a:xfrm>
          <a:prstGeom prst="rect">
            <a:avLst/>
          </a:prstGeom>
        </p:spPr>
        <p:txBody>
          <a:bodyPr vert="horz" lIns="0" tIns="0" rIns="0" bIns="0" rtlCol="0" anchor="ctr">
            <a:spAutoFit/>
          </a:bodyPr>
          <a:lstStyle>
            <a:lvl1pPr algn="l">
              <a:defRPr sz="1200">
                <a:solidFill>
                  <a:schemeClr val="tx1">
                    <a:tint val="82000"/>
                  </a:schemeClr>
                </a:solidFill>
              </a:defRPr>
            </a:lvl1pPr>
          </a:lstStyle>
          <a:p>
            <a:fld id="{37FA3778-6BAA-AD46-B30E-6B3D07CF735F}" type="slidenum">
              <a:rPr lang="en-US" smtClean="0"/>
              <a:pPr/>
              <a:t>‹#›</a:t>
            </a:fld>
            <a:endParaRPr lang="en-US"/>
          </a:p>
        </p:txBody>
      </p:sp>
      <p:sp>
        <p:nvSpPr>
          <p:cNvPr id="15" name="Rogers logo" descr="Rogers logo">
            <a:extLst>
              <a:ext uri="{FF2B5EF4-FFF2-40B4-BE49-F238E27FC236}">
                <a16:creationId xmlns:a16="http://schemas.microsoft.com/office/drawing/2014/main" id="{2EB3FB73-CAEF-4A39-5173-22E25CD7AC8E}"/>
              </a:ext>
            </a:extLst>
          </p:cNvPr>
          <p:cNvSpPr/>
          <p:nvPr/>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rgbClr val="DA291C"/>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6422974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37" r:id="rId4"/>
    <p:sldLayoutId id="2147483838" r:id="rId5"/>
    <p:sldLayoutId id="2147483839" r:id="rId6"/>
    <p:sldLayoutId id="2147483834" r:id="rId7"/>
    <p:sldLayoutId id="2147483835" r:id="rId8"/>
    <p:sldLayoutId id="2147483836" r:id="rId9"/>
    <p:sldLayoutId id="2147483841" r:id="rId10"/>
    <p:sldLayoutId id="2147483842" r:id="rId11"/>
    <p:sldLayoutId id="2147483843" r:id="rId12"/>
    <p:sldLayoutId id="2147483844" r:id="rId13"/>
    <p:sldLayoutId id="2147483845" r:id="rId14"/>
    <p:sldLayoutId id="2147483846" r:id="rId15"/>
    <p:sldLayoutId id="2147483849" r:id="rId16"/>
    <p:sldLayoutId id="2147483851" r:id="rId17"/>
  </p:sldLayoutIdLst>
  <p:hf hdr="0" ftr="0" dt="0"/>
  <p:txStyles>
    <p:titleStyle>
      <a:lvl1pPr algn="l" defTabSz="914400" rtl="0" eaLnBrk="1" latinLnBrk="0" hangingPunct="1">
        <a:lnSpc>
          <a:spcPct val="90000"/>
        </a:lnSpc>
        <a:spcBef>
          <a:spcPct val="0"/>
        </a:spcBef>
        <a:buNone/>
        <a:defRPr sz="2800" b="1" i="0" kern="1200">
          <a:solidFill>
            <a:schemeClr val="tx1"/>
          </a:solidFill>
          <a:latin typeface="Ted Next" panose="020B0602030202020203" pitchFamily="34" charset="77"/>
          <a:ea typeface="+mj-ea"/>
          <a:cs typeface="+mj-cs"/>
        </a:defRPr>
      </a:lvl1pPr>
    </p:titleStyle>
    <p:bodyStyle>
      <a:lvl1pPr marL="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9">
          <p15:clr>
            <a:srgbClr val="9FCC3B"/>
          </p15:clr>
        </p15:guide>
        <p15:guide id="2" pos="7306">
          <p15:clr>
            <a:srgbClr val="9FCC3B"/>
          </p15:clr>
        </p15:guide>
        <p15:guide id="3" orient="horz" pos="230">
          <p15:clr>
            <a:srgbClr val="9FCC3B"/>
          </p15:clr>
        </p15:guide>
        <p15:guide id="4" orient="horz" pos="650">
          <p15:clr>
            <a:srgbClr val="9FCC3B"/>
          </p15:clr>
        </p15:guide>
        <p15:guide id="5" orient="horz" pos="4119">
          <p15:clr>
            <a:srgbClr val="9FCC3B"/>
          </p15:clr>
        </p15:guide>
        <p15:guide id="6" pos="7488">
          <p15:clr>
            <a:srgbClr val="F26B43"/>
          </p15:clr>
        </p15:guide>
        <p15:guide id="7" pos="18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FB8EE-BFA2-0A30-F530-553CB2EC9BA0}"/>
              </a:ext>
            </a:extLst>
          </p:cNvPr>
          <p:cNvSpPr>
            <a:spLocks noGrp="1"/>
          </p:cNvSpPr>
          <p:nvPr>
            <p:ph type="title"/>
          </p:nvPr>
        </p:nvSpPr>
        <p:spPr>
          <a:xfrm>
            <a:off x="601663" y="365125"/>
            <a:ext cx="10988674" cy="387798"/>
          </a:xfrm>
          <a:prstGeom prst="rect">
            <a:avLst/>
          </a:prstGeom>
        </p:spPr>
        <p:txBody>
          <a:bodyPr vert="horz" lIns="0" tIns="0" rIns="0" bIns="0" rtlCol="0" anchor="t">
            <a:normAutofit/>
          </a:bodyPr>
          <a:lstStyle/>
          <a:p>
            <a:r>
              <a:rPr lang="en-US"/>
              <a:t>Click to edit Master title</a:t>
            </a:r>
          </a:p>
        </p:txBody>
      </p:sp>
      <p:sp>
        <p:nvSpPr>
          <p:cNvPr id="3" name="Text Placeholder 2">
            <a:extLst>
              <a:ext uri="{FF2B5EF4-FFF2-40B4-BE49-F238E27FC236}">
                <a16:creationId xmlns:a16="http://schemas.microsoft.com/office/drawing/2014/main" id="{52D8EAC7-C450-B26B-C1E4-DF4BFB6594FE}"/>
              </a:ext>
            </a:extLst>
          </p:cNvPr>
          <p:cNvSpPr>
            <a:spLocks noGrp="1"/>
          </p:cNvSpPr>
          <p:nvPr>
            <p:ph type="body" idx="1"/>
          </p:nvPr>
        </p:nvSpPr>
        <p:spPr>
          <a:xfrm>
            <a:off x="601663" y="1351237"/>
            <a:ext cx="10988674" cy="31382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CC0B04-EFF2-C453-A4EA-A440B2E42D4C}"/>
              </a:ext>
            </a:extLst>
          </p:cNvPr>
          <p:cNvSpPr>
            <a:spLocks noGrp="1"/>
          </p:cNvSpPr>
          <p:nvPr>
            <p:ph type="sldNum" sz="quarter" idx="4"/>
          </p:nvPr>
        </p:nvSpPr>
        <p:spPr>
          <a:xfrm>
            <a:off x="601663" y="6400542"/>
            <a:ext cx="594620" cy="184666"/>
          </a:xfrm>
          <a:prstGeom prst="rect">
            <a:avLst/>
          </a:prstGeom>
        </p:spPr>
        <p:txBody>
          <a:bodyPr vert="horz" lIns="0" tIns="0" rIns="0" bIns="0" rtlCol="0" anchor="ctr">
            <a:spAutoFit/>
          </a:bodyPr>
          <a:lstStyle>
            <a:lvl1pPr algn="l">
              <a:defRPr sz="1200">
                <a:solidFill>
                  <a:schemeClr val="tx1">
                    <a:tint val="82000"/>
                  </a:schemeClr>
                </a:solidFill>
              </a:defRPr>
            </a:lvl1pPr>
          </a:lstStyle>
          <a:p>
            <a:fld id="{37FA3778-6BAA-AD46-B30E-6B3D07CF735F}" type="slidenum">
              <a:rPr lang="en-US" smtClean="0"/>
              <a:pPr/>
              <a:t>‹#›</a:t>
            </a:fld>
            <a:endParaRPr lang="en-US"/>
          </a:p>
        </p:txBody>
      </p:sp>
      <p:sp>
        <p:nvSpPr>
          <p:cNvPr id="15" name="Freeform 14">
            <a:extLst>
              <a:ext uri="{FF2B5EF4-FFF2-40B4-BE49-F238E27FC236}">
                <a16:creationId xmlns:a16="http://schemas.microsoft.com/office/drawing/2014/main" id="{2EB3FB73-CAEF-4A39-5173-22E25CD7AC8E}"/>
              </a:ext>
            </a:extLst>
          </p:cNvPr>
          <p:cNvSpPr/>
          <p:nvPr userDrawn="1"/>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rgbClr val="DA291C"/>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214692999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Lst>
  <p:hf hdr="0" ftr="0" dt="0"/>
  <p:txStyles>
    <p:titleStyle>
      <a:lvl1pPr algn="l" defTabSz="914400" rtl="0" eaLnBrk="1" latinLnBrk="0" hangingPunct="1">
        <a:lnSpc>
          <a:spcPct val="90000"/>
        </a:lnSpc>
        <a:spcBef>
          <a:spcPct val="0"/>
        </a:spcBef>
        <a:buNone/>
        <a:defRPr sz="2800" b="1" i="0" kern="1200">
          <a:solidFill>
            <a:schemeClr val="tx1"/>
          </a:solidFill>
          <a:latin typeface="Ted Next" panose="020B0602030202020203" pitchFamily="34" charset="77"/>
          <a:ea typeface="+mj-ea"/>
          <a:cs typeface="+mj-cs"/>
        </a:defRPr>
      </a:lvl1pPr>
    </p:titleStyle>
    <p:bodyStyle>
      <a:lvl1pPr marL="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9" userDrawn="1">
          <p15:clr>
            <a:srgbClr val="9FCC3B"/>
          </p15:clr>
        </p15:guide>
        <p15:guide id="2" pos="7306" userDrawn="1">
          <p15:clr>
            <a:srgbClr val="9FCC3B"/>
          </p15:clr>
        </p15:guide>
        <p15:guide id="3" orient="horz" pos="230" userDrawn="1">
          <p15:clr>
            <a:srgbClr val="9FCC3B"/>
          </p15:clr>
        </p15:guide>
        <p15:guide id="4" orient="horz" pos="650" userDrawn="1">
          <p15:clr>
            <a:srgbClr val="9FCC3B"/>
          </p15:clr>
        </p15:guide>
        <p15:guide id="5" orient="horz" pos="4119" userDrawn="1">
          <p15:clr>
            <a:srgbClr val="9FCC3B"/>
          </p15:clr>
        </p15:guide>
        <p15:guide id="6" pos="7488" userDrawn="1">
          <p15:clr>
            <a:srgbClr val="F26B43"/>
          </p15:clr>
        </p15:guide>
        <p15:guide id="7" pos="18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FB8EE-BFA2-0A30-F530-553CB2EC9BA0}"/>
              </a:ext>
            </a:extLst>
          </p:cNvPr>
          <p:cNvSpPr>
            <a:spLocks noGrp="1"/>
          </p:cNvSpPr>
          <p:nvPr>
            <p:ph type="title"/>
          </p:nvPr>
        </p:nvSpPr>
        <p:spPr>
          <a:xfrm>
            <a:off x="601663" y="365125"/>
            <a:ext cx="10988674" cy="387798"/>
          </a:xfrm>
          <a:prstGeom prst="rect">
            <a:avLst/>
          </a:prstGeom>
        </p:spPr>
        <p:txBody>
          <a:bodyPr vert="horz" lIns="0" tIns="0" rIns="0" bIns="0" rtlCol="0" anchor="t">
            <a:normAutofit/>
          </a:bodyPr>
          <a:lstStyle/>
          <a:p>
            <a:r>
              <a:rPr lang="en-US"/>
              <a:t>Click to edit Master title</a:t>
            </a:r>
          </a:p>
        </p:txBody>
      </p:sp>
      <p:sp>
        <p:nvSpPr>
          <p:cNvPr id="3" name="Text Placeholder 2">
            <a:extLst>
              <a:ext uri="{FF2B5EF4-FFF2-40B4-BE49-F238E27FC236}">
                <a16:creationId xmlns:a16="http://schemas.microsoft.com/office/drawing/2014/main" id="{52D8EAC7-C450-B26B-C1E4-DF4BFB6594FE}"/>
              </a:ext>
            </a:extLst>
          </p:cNvPr>
          <p:cNvSpPr>
            <a:spLocks noGrp="1"/>
          </p:cNvSpPr>
          <p:nvPr>
            <p:ph type="body" idx="1"/>
          </p:nvPr>
        </p:nvSpPr>
        <p:spPr>
          <a:xfrm>
            <a:off x="601663" y="1351237"/>
            <a:ext cx="10988674" cy="313826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CC0B04-EFF2-C453-A4EA-A440B2E42D4C}"/>
              </a:ext>
            </a:extLst>
          </p:cNvPr>
          <p:cNvSpPr>
            <a:spLocks noGrp="1"/>
          </p:cNvSpPr>
          <p:nvPr>
            <p:ph type="sldNum" sz="quarter" idx="4"/>
          </p:nvPr>
        </p:nvSpPr>
        <p:spPr>
          <a:xfrm>
            <a:off x="601663" y="6400542"/>
            <a:ext cx="594620" cy="184666"/>
          </a:xfrm>
          <a:prstGeom prst="rect">
            <a:avLst/>
          </a:prstGeom>
        </p:spPr>
        <p:txBody>
          <a:bodyPr vert="horz" lIns="0" tIns="0" rIns="0" bIns="0" rtlCol="0" anchor="ctr">
            <a:spAutoFit/>
          </a:bodyPr>
          <a:lstStyle>
            <a:lvl1pPr algn="l">
              <a:defRPr sz="1200">
                <a:solidFill>
                  <a:schemeClr val="tx1">
                    <a:tint val="82000"/>
                  </a:schemeClr>
                </a:solidFill>
              </a:defRPr>
            </a:lvl1pPr>
          </a:lstStyle>
          <a:p>
            <a:fld id="{37FA3778-6BAA-AD46-B30E-6B3D07CF735F}" type="slidenum">
              <a:rPr lang="en-US" smtClean="0"/>
              <a:pPr/>
              <a:t>‹#›</a:t>
            </a:fld>
            <a:endParaRPr lang="en-US"/>
          </a:p>
        </p:txBody>
      </p:sp>
      <p:sp>
        <p:nvSpPr>
          <p:cNvPr id="15" name="Freeform 14">
            <a:extLst>
              <a:ext uri="{FF2B5EF4-FFF2-40B4-BE49-F238E27FC236}">
                <a16:creationId xmlns:a16="http://schemas.microsoft.com/office/drawing/2014/main" id="{2EB3FB73-CAEF-4A39-5173-22E25CD7AC8E}"/>
              </a:ext>
            </a:extLst>
          </p:cNvPr>
          <p:cNvSpPr/>
          <p:nvPr/>
        </p:nvSpPr>
        <p:spPr>
          <a:xfrm>
            <a:off x="10215202" y="6280565"/>
            <a:ext cx="1681201" cy="302348"/>
          </a:xfrm>
          <a:custGeom>
            <a:avLst/>
            <a:gdLst>
              <a:gd name="connsiteX0" fmla="*/ 60036 w 1681201"/>
              <a:gd name="connsiteY0" fmla="*/ 161626 h 302348"/>
              <a:gd name="connsiteX1" fmla="*/ 206656 w 1681201"/>
              <a:gd name="connsiteY1" fmla="*/ 273481 h 302348"/>
              <a:gd name="connsiteX2" fmla="*/ 253916 w 1681201"/>
              <a:gd name="connsiteY2" fmla="*/ 266208 h 302348"/>
              <a:gd name="connsiteX3" fmla="*/ 154147 w 1681201"/>
              <a:gd name="connsiteY3" fmla="*/ 302348 h 302348"/>
              <a:gd name="connsiteX4" fmla="*/ 42359 w 1681201"/>
              <a:gd name="connsiteY4" fmla="*/ 217067 h 302348"/>
              <a:gd name="connsiteX5" fmla="*/ 60036 w 1681201"/>
              <a:gd name="connsiteY5" fmla="*/ 161626 h 302348"/>
              <a:gd name="connsiteX6" fmla="*/ 1370865 w 1681201"/>
              <a:gd name="connsiteY6" fmla="*/ 71248 h 302348"/>
              <a:gd name="connsiteX7" fmla="*/ 1370865 w 1681201"/>
              <a:gd name="connsiteY7" fmla="*/ 142440 h 302348"/>
              <a:gd name="connsiteX8" fmla="*/ 1398462 w 1681201"/>
              <a:gd name="connsiteY8" fmla="*/ 142440 h 302348"/>
              <a:gd name="connsiteX9" fmla="*/ 1398462 w 1681201"/>
              <a:gd name="connsiteY9" fmla="*/ 142497 h 302348"/>
              <a:gd name="connsiteX10" fmla="*/ 1441229 w 1681201"/>
              <a:gd name="connsiteY10" fmla="*/ 106529 h 302348"/>
              <a:gd name="connsiteX11" fmla="*/ 1398462 w 1681201"/>
              <a:gd name="connsiteY11" fmla="*/ 71248 h 302348"/>
              <a:gd name="connsiteX12" fmla="*/ 456547 w 1681201"/>
              <a:gd name="connsiteY12" fmla="*/ 71248 h 302348"/>
              <a:gd name="connsiteX13" fmla="*/ 456547 w 1681201"/>
              <a:gd name="connsiteY13" fmla="*/ 142440 h 302348"/>
              <a:gd name="connsiteX14" fmla="*/ 484144 w 1681201"/>
              <a:gd name="connsiteY14" fmla="*/ 142440 h 302348"/>
              <a:gd name="connsiteX15" fmla="*/ 484144 w 1681201"/>
              <a:gd name="connsiteY15" fmla="*/ 142497 h 302348"/>
              <a:gd name="connsiteX16" fmla="*/ 526910 w 1681201"/>
              <a:gd name="connsiteY16" fmla="*/ 106529 h 302348"/>
              <a:gd name="connsiteX17" fmla="*/ 484144 w 1681201"/>
              <a:gd name="connsiteY17" fmla="*/ 71248 h 302348"/>
              <a:gd name="connsiteX18" fmla="*/ 718630 w 1681201"/>
              <a:gd name="connsiteY18" fmla="*/ 69473 h 302348"/>
              <a:gd name="connsiteX19" fmla="*/ 654568 w 1681201"/>
              <a:gd name="connsiteY19" fmla="*/ 151374 h 302348"/>
              <a:gd name="connsiteX20" fmla="*/ 718630 w 1681201"/>
              <a:gd name="connsiteY20" fmla="*/ 232932 h 302348"/>
              <a:gd name="connsiteX21" fmla="*/ 782634 w 1681201"/>
              <a:gd name="connsiteY21" fmla="*/ 151374 h 302348"/>
              <a:gd name="connsiteX22" fmla="*/ 718630 w 1681201"/>
              <a:gd name="connsiteY22" fmla="*/ 69473 h 302348"/>
              <a:gd name="connsiteX23" fmla="*/ 271199 w 1681201"/>
              <a:gd name="connsiteY23" fmla="*/ 53113 h 302348"/>
              <a:gd name="connsiteX24" fmla="*/ 296946 w 1681201"/>
              <a:gd name="connsiteY24" fmla="*/ 94760 h 302348"/>
              <a:gd name="connsiteX25" fmla="*/ 308002 w 1681201"/>
              <a:gd name="connsiteY25" fmla="*/ 151031 h 302348"/>
              <a:gd name="connsiteX26" fmla="*/ 221127 w 1681201"/>
              <a:gd name="connsiteY26" fmla="*/ 260767 h 302348"/>
              <a:gd name="connsiteX27" fmla="*/ 164649 w 1681201"/>
              <a:gd name="connsiteY27" fmla="*/ 243413 h 302348"/>
              <a:gd name="connsiteX28" fmla="*/ 278596 w 1681201"/>
              <a:gd name="connsiteY28" fmla="*/ 99427 h 302348"/>
              <a:gd name="connsiteX29" fmla="*/ 271186 w 1681201"/>
              <a:gd name="connsiteY29" fmla="*/ 53035 h 302348"/>
              <a:gd name="connsiteX30" fmla="*/ 271199 w 1681201"/>
              <a:gd name="connsiteY30" fmla="*/ 53113 h 302348"/>
              <a:gd name="connsiteX31" fmla="*/ 271186 w 1681201"/>
              <a:gd name="connsiteY31" fmla="*/ 53093 h 302348"/>
              <a:gd name="connsiteX32" fmla="*/ 86875 w 1681201"/>
              <a:gd name="connsiteY32" fmla="*/ 41581 h 302348"/>
              <a:gd name="connsiteX33" fmla="*/ 143353 w 1681201"/>
              <a:gd name="connsiteY33" fmla="*/ 58935 h 302348"/>
              <a:gd name="connsiteX34" fmla="*/ 29406 w 1681201"/>
              <a:gd name="connsiteY34" fmla="*/ 202863 h 302348"/>
              <a:gd name="connsiteX35" fmla="*/ 36816 w 1681201"/>
              <a:gd name="connsiteY35" fmla="*/ 249255 h 302348"/>
              <a:gd name="connsiteX36" fmla="*/ 36816 w 1681201"/>
              <a:gd name="connsiteY36" fmla="*/ 249312 h 302348"/>
              <a:gd name="connsiteX37" fmla="*/ 0 w 1681201"/>
              <a:gd name="connsiteY37" fmla="*/ 151374 h 302348"/>
              <a:gd name="connsiteX38" fmla="*/ 86875 w 1681201"/>
              <a:gd name="connsiteY38" fmla="*/ 41581 h 302348"/>
              <a:gd name="connsiteX39" fmla="*/ 1329732 w 1681201"/>
              <a:gd name="connsiteY39" fmla="*/ 37399 h 302348"/>
              <a:gd name="connsiteX40" fmla="*/ 1329790 w 1681201"/>
              <a:gd name="connsiteY40" fmla="*/ 37399 h 302348"/>
              <a:gd name="connsiteX41" fmla="*/ 1399629 w 1681201"/>
              <a:gd name="connsiteY41" fmla="*/ 37399 h 302348"/>
              <a:gd name="connsiteX42" fmla="*/ 1483587 w 1681201"/>
              <a:gd name="connsiteY42" fmla="*/ 106758 h 302348"/>
              <a:gd name="connsiteX43" fmla="*/ 1441229 w 1681201"/>
              <a:gd name="connsiteY43" fmla="*/ 169129 h 302348"/>
              <a:gd name="connsiteX44" fmla="*/ 1441229 w 1681201"/>
              <a:gd name="connsiteY44" fmla="*/ 170561 h 302348"/>
              <a:gd name="connsiteX45" fmla="*/ 1468067 w 1681201"/>
              <a:gd name="connsiteY45" fmla="*/ 198510 h 302348"/>
              <a:gd name="connsiteX46" fmla="*/ 1506400 w 1681201"/>
              <a:gd name="connsiteY46" fmla="*/ 264891 h 302348"/>
              <a:gd name="connsiteX47" fmla="*/ 1458966 w 1681201"/>
              <a:gd name="connsiteY47" fmla="*/ 264891 h 302348"/>
              <a:gd name="connsiteX48" fmla="*/ 1425826 w 1681201"/>
              <a:gd name="connsiteY48" fmla="*/ 207388 h 302348"/>
              <a:gd name="connsiteX49" fmla="*/ 1385743 w 1681201"/>
              <a:gd name="connsiteY49" fmla="*/ 176288 h 302348"/>
              <a:gd name="connsiteX50" fmla="*/ 1370923 w 1681201"/>
              <a:gd name="connsiteY50" fmla="*/ 176288 h 302348"/>
              <a:gd name="connsiteX51" fmla="*/ 1370923 w 1681201"/>
              <a:gd name="connsiteY51" fmla="*/ 264891 h 302348"/>
              <a:gd name="connsiteX52" fmla="*/ 1329732 w 1681201"/>
              <a:gd name="connsiteY52" fmla="*/ 264891 h 302348"/>
              <a:gd name="connsiteX53" fmla="*/ 1127218 w 1681201"/>
              <a:gd name="connsiteY53" fmla="*/ 37399 h 302348"/>
              <a:gd name="connsiteX54" fmla="*/ 1269929 w 1681201"/>
              <a:gd name="connsiteY54" fmla="*/ 37399 h 302348"/>
              <a:gd name="connsiteX55" fmla="*/ 1258668 w 1681201"/>
              <a:gd name="connsiteY55" fmla="*/ 71248 h 302348"/>
              <a:gd name="connsiteX56" fmla="*/ 1169401 w 1681201"/>
              <a:gd name="connsiteY56" fmla="*/ 71248 h 302348"/>
              <a:gd name="connsiteX57" fmla="*/ 1169401 w 1681201"/>
              <a:gd name="connsiteY57" fmla="*/ 132015 h 302348"/>
              <a:gd name="connsiteX58" fmla="*/ 1258318 w 1681201"/>
              <a:gd name="connsiteY58" fmla="*/ 132015 h 302348"/>
              <a:gd name="connsiteX59" fmla="*/ 1258318 w 1681201"/>
              <a:gd name="connsiteY59" fmla="*/ 165864 h 302348"/>
              <a:gd name="connsiteX60" fmla="*/ 1169401 w 1681201"/>
              <a:gd name="connsiteY60" fmla="*/ 165864 h 302348"/>
              <a:gd name="connsiteX61" fmla="*/ 1169401 w 1681201"/>
              <a:gd name="connsiteY61" fmla="*/ 231098 h 302348"/>
              <a:gd name="connsiteX62" fmla="*/ 1270279 w 1681201"/>
              <a:gd name="connsiteY62" fmla="*/ 231098 h 302348"/>
              <a:gd name="connsiteX63" fmla="*/ 1270279 w 1681201"/>
              <a:gd name="connsiteY63" fmla="*/ 264947 h 302348"/>
              <a:gd name="connsiteX64" fmla="*/ 1127218 w 1681201"/>
              <a:gd name="connsiteY64" fmla="*/ 264947 h 302348"/>
              <a:gd name="connsiteX65" fmla="*/ 415355 w 1681201"/>
              <a:gd name="connsiteY65" fmla="*/ 37399 h 302348"/>
              <a:gd name="connsiteX66" fmla="*/ 485135 w 1681201"/>
              <a:gd name="connsiteY66" fmla="*/ 37399 h 302348"/>
              <a:gd name="connsiteX67" fmla="*/ 569094 w 1681201"/>
              <a:gd name="connsiteY67" fmla="*/ 106758 h 302348"/>
              <a:gd name="connsiteX68" fmla="*/ 526735 w 1681201"/>
              <a:gd name="connsiteY68" fmla="*/ 169129 h 302348"/>
              <a:gd name="connsiteX69" fmla="*/ 526735 w 1681201"/>
              <a:gd name="connsiteY69" fmla="*/ 170561 h 302348"/>
              <a:gd name="connsiteX70" fmla="*/ 553574 w 1681201"/>
              <a:gd name="connsiteY70" fmla="*/ 198510 h 302348"/>
              <a:gd name="connsiteX71" fmla="*/ 591907 w 1681201"/>
              <a:gd name="connsiteY71" fmla="*/ 264891 h 302348"/>
              <a:gd name="connsiteX72" fmla="*/ 544473 w 1681201"/>
              <a:gd name="connsiteY72" fmla="*/ 264891 h 302348"/>
              <a:gd name="connsiteX73" fmla="*/ 511391 w 1681201"/>
              <a:gd name="connsiteY73" fmla="*/ 207388 h 302348"/>
              <a:gd name="connsiteX74" fmla="*/ 471366 w 1681201"/>
              <a:gd name="connsiteY74" fmla="*/ 176288 h 302348"/>
              <a:gd name="connsiteX75" fmla="*/ 456547 w 1681201"/>
              <a:gd name="connsiteY75" fmla="*/ 176288 h 302348"/>
              <a:gd name="connsiteX76" fmla="*/ 456547 w 1681201"/>
              <a:gd name="connsiteY76" fmla="*/ 264891 h 302348"/>
              <a:gd name="connsiteX77" fmla="*/ 415355 w 1681201"/>
              <a:gd name="connsiteY77" fmla="*/ 264891 h 302348"/>
              <a:gd name="connsiteX78" fmla="*/ 983399 w 1681201"/>
              <a:gd name="connsiteY78" fmla="*/ 34536 h 302348"/>
              <a:gd name="connsiteX79" fmla="*/ 1050612 w 1681201"/>
              <a:gd name="connsiteY79" fmla="*/ 49885 h 302348"/>
              <a:gd name="connsiteX80" fmla="*/ 1039001 w 1681201"/>
              <a:gd name="connsiteY80" fmla="*/ 84823 h 302348"/>
              <a:gd name="connsiteX81" fmla="*/ 986491 w 1681201"/>
              <a:gd name="connsiteY81" fmla="*/ 69473 h 302348"/>
              <a:gd name="connsiteX82" fmla="*/ 911693 w 1681201"/>
              <a:gd name="connsiteY82" fmla="*/ 151718 h 302348"/>
              <a:gd name="connsiteX83" fmla="*/ 985032 w 1681201"/>
              <a:gd name="connsiteY83" fmla="*/ 232932 h 302348"/>
              <a:gd name="connsiteX84" fmla="*/ 1018697 w 1681201"/>
              <a:gd name="connsiteY84" fmla="*/ 226002 h 302348"/>
              <a:gd name="connsiteX85" fmla="*/ 1018697 w 1681201"/>
              <a:gd name="connsiteY85" fmla="*/ 175028 h 302348"/>
              <a:gd name="connsiteX86" fmla="*/ 983340 w 1681201"/>
              <a:gd name="connsiteY86" fmla="*/ 175028 h 302348"/>
              <a:gd name="connsiteX87" fmla="*/ 994251 w 1681201"/>
              <a:gd name="connsiteY87" fmla="*/ 142153 h 302348"/>
              <a:gd name="connsiteX88" fmla="*/ 994251 w 1681201"/>
              <a:gd name="connsiteY88" fmla="*/ 142096 h 302348"/>
              <a:gd name="connsiteX89" fmla="*/ 1060413 w 1681201"/>
              <a:gd name="connsiteY89" fmla="*/ 142096 h 302348"/>
              <a:gd name="connsiteX90" fmla="*/ 1060413 w 1681201"/>
              <a:gd name="connsiteY90" fmla="*/ 249484 h 302348"/>
              <a:gd name="connsiteX91" fmla="*/ 981881 w 1681201"/>
              <a:gd name="connsiteY91" fmla="*/ 267811 h 302348"/>
              <a:gd name="connsiteX92" fmla="*/ 867526 w 1681201"/>
              <a:gd name="connsiteY92" fmla="*/ 154467 h 302348"/>
              <a:gd name="connsiteX93" fmla="*/ 983399 w 1681201"/>
              <a:gd name="connsiteY93" fmla="*/ 34536 h 302348"/>
              <a:gd name="connsiteX94" fmla="*/ 718630 w 1681201"/>
              <a:gd name="connsiteY94" fmla="*/ 34536 h 302348"/>
              <a:gd name="connsiteX95" fmla="*/ 826860 w 1681201"/>
              <a:gd name="connsiteY95" fmla="*/ 151374 h 302348"/>
              <a:gd name="connsiteX96" fmla="*/ 718630 w 1681201"/>
              <a:gd name="connsiteY96" fmla="*/ 267869 h 302348"/>
              <a:gd name="connsiteX97" fmla="*/ 610401 w 1681201"/>
              <a:gd name="connsiteY97" fmla="*/ 151374 h 302348"/>
              <a:gd name="connsiteX98" fmla="*/ 718630 w 1681201"/>
              <a:gd name="connsiteY98" fmla="*/ 34536 h 302348"/>
              <a:gd name="connsiteX99" fmla="*/ 1613812 w 1681201"/>
              <a:gd name="connsiteY99" fmla="*/ 34478 h 302348"/>
              <a:gd name="connsiteX100" fmla="*/ 1667956 w 1681201"/>
              <a:gd name="connsiteY100" fmla="*/ 41294 h 302348"/>
              <a:gd name="connsiteX101" fmla="*/ 1667956 w 1681201"/>
              <a:gd name="connsiteY101" fmla="*/ 79324 h 302348"/>
              <a:gd name="connsiteX102" fmla="*/ 1617722 w 1681201"/>
              <a:gd name="connsiteY102" fmla="*/ 69358 h 302348"/>
              <a:gd name="connsiteX103" fmla="*/ 1592028 w 1681201"/>
              <a:gd name="connsiteY103" fmla="*/ 75472 h 302348"/>
              <a:gd name="connsiteX104" fmla="*/ 1580936 w 1681201"/>
              <a:gd name="connsiteY104" fmla="*/ 95021 h 302348"/>
              <a:gd name="connsiteX105" fmla="*/ 1580906 w 1681201"/>
              <a:gd name="connsiteY105" fmla="*/ 94959 h 302348"/>
              <a:gd name="connsiteX106" fmla="*/ 1580906 w 1681201"/>
              <a:gd name="connsiteY106" fmla="*/ 95074 h 302348"/>
              <a:gd name="connsiteX107" fmla="*/ 1580936 w 1681201"/>
              <a:gd name="connsiteY107" fmla="*/ 95021 h 302348"/>
              <a:gd name="connsiteX108" fmla="*/ 1590241 w 1681201"/>
              <a:gd name="connsiteY108" fmla="*/ 113931 h 302348"/>
              <a:gd name="connsiteX109" fmla="*/ 1613229 w 1681201"/>
              <a:gd name="connsiteY109" fmla="*/ 128006 h 302348"/>
              <a:gd name="connsiteX110" fmla="*/ 1628632 w 1681201"/>
              <a:gd name="connsiteY110" fmla="*/ 136082 h 302348"/>
              <a:gd name="connsiteX111" fmla="*/ 1681201 w 1681201"/>
              <a:gd name="connsiteY111" fmla="*/ 199999 h 302348"/>
              <a:gd name="connsiteX112" fmla="*/ 1598234 w 1681201"/>
              <a:gd name="connsiteY112" fmla="*/ 267697 h 302348"/>
              <a:gd name="connsiteX113" fmla="*/ 1529796 w 1681201"/>
              <a:gd name="connsiteY113" fmla="*/ 252576 h 302348"/>
              <a:gd name="connsiteX114" fmla="*/ 1540998 w 1681201"/>
              <a:gd name="connsiteY114" fmla="*/ 218957 h 302348"/>
              <a:gd name="connsiteX115" fmla="*/ 1597476 w 1681201"/>
              <a:gd name="connsiteY115" fmla="*/ 232645 h 302348"/>
              <a:gd name="connsiteX116" fmla="*/ 1636159 w 1681201"/>
              <a:gd name="connsiteY116" fmla="*/ 203665 h 302348"/>
              <a:gd name="connsiteX117" fmla="*/ 1603135 w 1681201"/>
              <a:gd name="connsiteY117" fmla="*/ 168614 h 302348"/>
              <a:gd name="connsiteX118" fmla="*/ 1586507 w 1681201"/>
              <a:gd name="connsiteY118" fmla="*/ 159908 h 302348"/>
              <a:gd name="connsiteX119" fmla="*/ 1535922 w 1681201"/>
              <a:gd name="connsiteY119" fmla="*/ 97308 h 302348"/>
              <a:gd name="connsiteX120" fmla="*/ 1613812 w 1681201"/>
              <a:gd name="connsiteY120" fmla="*/ 34478 h 302348"/>
              <a:gd name="connsiteX121" fmla="*/ 153797 w 1681201"/>
              <a:gd name="connsiteY121" fmla="*/ 0 h 302348"/>
              <a:gd name="connsiteX122" fmla="*/ 265585 w 1681201"/>
              <a:gd name="connsiteY122" fmla="*/ 85280 h 302348"/>
              <a:gd name="connsiteX123" fmla="*/ 247906 w 1681201"/>
              <a:gd name="connsiteY123" fmla="*/ 140722 h 302348"/>
              <a:gd name="connsiteX124" fmla="*/ 101286 w 1681201"/>
              <a:gd name="connsiteY124" fmla="*/ 28866 h 302348"/>
              <a:gd name="connsiteX125" fmla="*/ 54027 w 1681201"/>
              <a:gd name="connsiteY125" fmla="*/ 36140 h 302348"/>
              <a:gd name="connsiteX126" fmla="*/ 153797 w 1681201"/>
              <a:gd name="connsiteY126" fmla="*/ 0 h 3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681201" h="302348">
                <a:moveTo>
                  <a:pt x="60036" y="161626"/>
                </a:moveTo>
                <a:cubicBezTo>
                  <a:pt x="90435" y="232073"/>
                  <a:pt x="153155" y="273481"/>
                  <a:pt x="206656" y="273481"/>
                </a:cubicBezTo>
                <a:cubicBezTo>
                  <a:pt x="226669" y="273481"/>
                  <a:pt x="242656" y="269816"/>
                  <a:pt x="253916" y="266208"/>
                </a:cubicBezTo>
                <a:cubicBezTo>
                  <a:pt x="230928" y="285452"/>
                  <a:pt x="196913" y="302348"/>
                  <a:pt x="154147" y="302348"/>
                </a:cubicBezTo>
                <a:cubicBezTo>
                  <a:pt x="84425" y="302348"/>
                  <a:pt x="42359" y="261225"/>
                  <a:pt x="42359" y="217067"/>
                </a:cubicBezTo>
                <a:cubicBezTo>
                  <a:pt x="42359" y="195418"/>
                  <a:pt x="50118" y="174341"/>
                  <a:pt x="60036" y="161626"/>
                </a:cubicBezTo>
                <a:close/>
                <a:moveTo>
                  <a:pt x="1370865" y="71248"/>
                </a:moveTo>
                <a:lnTo>
                  <a:pt x="1370865" y="142440"/>
                </a:lnTo>
                <a:lnTo>
                  <a:pt x="1398462" y="142440"/>
                </a:lnTo>
                <a:lnTo>
                  <a:pt x="1398462" y="142497"/>
                </a:lnTo>
                <a:cubicBezTo>
                  <a:pt x="1433936" y="142497"/>
                  <a:pt x="1441229" y="120733"/>
                  <a:pt x="1441229" y="106529"/>
                </a:cubicBezTo>
                <a:cubicBezTo>
                  <a:pt x="1441229" y="94444"/>
                  <a:pt x="1434869" y="71248"/>
                  <a:pt x="1398462" y="71248"/>
                </a:cubicBezTo>
                <a:close/>
                <a:moveTo>
                  <a:pt x="456547" y="71248"/>
                </a:moveTo>
                <a:lnTo>
                  <a:pt x="456547" y="142440"/>
                </a:lnTo>
                <a:lnTo>
                  <a:pt x="484144" y="142440"/>
                </a:lnTo>
                <a:lnTo>
                  <a:pt x="484144" y="142497"/>
                </a:lnTo>
                <a:cubicBezTo>
                  <a:pt x="519617" y="142497"/>
                  <a:pt x="526910" y="120733"/>
                  <a:pt x="526910" y="106529"/>
                </a:cubicBezTo>
                <a:cubicBezTo>
                  <a:pt x="526910" y="94444"/>
                  <a:pt x="520551" y="71248"/>
                  <a:pt x="484144" y="71248"/>
                </a:cubicBezTo>
                <a:close/>
                <a:moveTo>
                  <a:pt x="718630" y="69473"/>
                </a:moveTo>
                <a:cubicBezTo>
                  <a:pt x="675514" y="69473"/>
                  <a:pt x="654568" y="99542"/>
                  <a:pt x="654568" y="151374"/>
                </a:cubicBezTo>
                <a:cubicBezTo>
                  <a:pt x="654568" y="203207"/>
                  <a:pt x="676505" y="232932"/>
                  <a:pt x="718630" y="232932"/>
                </a:cubicBezTo>
                <a:cubicBezTo>
                  <a:pt x="760755" y="232932"/>
                  <a:pt x="782634" y="202863"/>
                  <a:pt x="782634" y="151374"/>
                </a:cubicBezTo>
                <a:cubicBezTo>
                  <a:pt x="782634" y="100916"/>
                  <a:pt x="761746" y="69473"/>
                  <a:pt x="718630" y="69473"/>
                </a:cubicBezTo>
                <a:close/>
                <a:moveTo>
                  <a:pt x="271199" y="53113"/>
                </a:moveTo>
                <a:lnTo>
                  <a:pt x="296946" y="94760"/>
                </a:lnTo>
                <a:cubicBezTo>
                  <a:pt x="303699" y="111169"/>
                  <a:pt x="308002" y="130012"/>
                  <a:pt x="308002" y="151031"/>
                </a:cubicBezTo>
                <a:cubicBezTo>
                  <a:pt x="308002" y="219473"/>
                  <a:pt x="266110" y="260767"/>
                  <a:pt x="221127" y="260767"/>
                </a:cubicBezTo>
                <a:cubicBezTo>
                  <a:pt x="199072" y="260767"/>
                  <a:pt x="177601" y="253150"/>
                  <a:pt x="164649" y="243413"/>
                </a:cubicBezTo>
                <a:cubicBezTo>
                  <a:pt x="236354" y="213574"/>
                  <a:pt x="278596" y="152004"/>
                  <a:pt x="278596" y="99427"/>
                </a:cubicBezTo>
                <a:close/>
                <a:moveTo>
                  <a:pt x="271186" y="53035"/>
                </a:moveTo>
                <a:lnTo>
                  <a:pt x="271199" y="53113"/>
                </a:lnTo>
                <a:lnTo>
                  <a:pt x="271186" y="53093"/>
                </a:lnTo>
                <a:close/>
                <a:moveTo>
                  <a:pt x="86875" y="41581"/>
                </a:moveTo>
                <a:cubicBezTo>
                  <a:pt x="108930" y="41581"/>
                  <a:pt x="130400" y="49198"/>
                  <a:pt x="143353" y="58935"/>
                </a:cubicBezTo>
                <a:cubicBezTo>
                  <a:pt x="71647" y="88774"/>
                  <a:pt x="29406" y="150344"/>
                  <a:pt x="29406" y="202863"/>
                </a:cubicBezTo>
                <a:cubicBezTo>
                  <a:pt x="29406" y="222508"/>
                  <a:pt x="33140" y="238201"/>
                  <a:pt x="36816" y="249255"/>
                </a:cubicBezTo>
                <a:lnTo>
                  <a:pt x="36816" y="249312"/>
                </a:lnTo>
                <a:cubicBezTo>
                  <a:pt x="17212" y="226747"/>
                  <a:pt x="0" y="193413"/>
                  <a:pt x="0" y="151374"/>
                </a:cubicBezTo>
                <a:cubicBezTo>
                  <a:pt x="0" y="82875"/>
                  <a:pt x="41892" y="41581"/>
                  <a:pt x="86875" y="41581"/>
                </a:cubicBezTo>
                <a:close/>
                <a:moveTo>
                  <a:pt x="1329732" y="37399"/>
                </a:moveTo>
                <a:lnTo>
                  <a:pt x="1329790" y="37399"/>
                </a:lnTo>
                <a:lnTo>
                  <a:pt x="1399629" y="37399"/>
                </a:lnTo>
                <a:cubicBezTo>
                  <a:pt x="1463633" y="37399"/>
                  <a:pt x="1483587" y="76402"/>
                  <a:pt x="1483587" y="106758"/>
                </a:cubicBezTo>
                <a:cubicBezTo>
                  <a:pt x="1483587" y="149369"/>
                  <a:pt x="1450680" y="165635"/>
                  <a:pt x="1441229" y="169129"/>
                </a:cubicBezTo>
                <a:lnTo>
                  <a:pt x="1441229" y="170561"/>
                </a:lnTo>
                <a:cubicBezTo>
                  <a:pt x="1445779" y="171821"/>
                  <a:pt x="1455465" y="176346"/>
                  <a:pt x="1468067" y="198510"/>
                </a:cubicBezTo>
                <a:lnTo>
                  <a:pt x="1506400" y="264891"/>
                </a:lnTo>
                <a:lnTo>
                  <a:pt x="1458966" y="264891"/>
                </a:lnTo>
                <a:lnTo>
                  <a:pt x="1425826" y="207388"/>
                </a:lnTo>
                <a:cubicBezTo>
                  <a:pt x="1412523" y="183905"/>
                  <a:pt x="1407097" y="176288"/>
                  <a:pt x="1385743" y="176288"/>
                </a:cubicBezTo>
                <a:lnTo>
                  <a:pt x="1370923" y="176288"/>
                </a:lnTo>
                <a:lnTo>
                  <a:pt x="1370923" y="264891"/>
                </a:lnTo>
                <a:lnTo>
                  <a:pt x="1329732" y="264891"/>
                </a:lnTo>
                <a:close/>
                <a:moveTo>
                  <a:pt x="1127218" y="37399"/>
                </a:moveTo>
                <a:lnTo>
                  <a:pt x="1269929" y="37399"/>
                </a:lnTo>
                <a:lnTo>
                  <a:pt x="1258668" y="71248"/>
                </a:lnTo>
                <a:lnTo>
                  <a:pt x="1169401" y="71248"/>
                </a:lnTo>
                <a:lnTo>
                  <a:pt x="1169401" y="132015"/>
                </a:lnTo>
                <a:lnTo>
                  <a:pt x="1258318" y="132015"/>
                </a:lnTo>
                <a:lnTo>
                  <a:pt x="1258318" y="165864"/>
                </a:lnTo>
                <a:lnTo>
                  <a:pt x="1169401" y="165864"/>
                </a:lnTo>
                <a:lnTo>
                  <a:pt x="1169401" y="231098"/>
                </a:lnTo>
                <a:lnTo>
                  <a:pt x="1270279" y="231098"/>
                </a:lnTo>
                <a:lnTo>
                  <a:pt x="1270279" y="264947"/>
                </a:lnTo>
                <a:lnTo>
                  <a:pt x="1127218" y="264947"/>
                </a:lnTo>
                <a:close/>
                <a:moveTo>
                  <a:pt x="415355" y="37399"/>
                </a:moveTo>
                <a:lnTo>
                  <a:pt x="485135" y="37399"/>
                </a:lnTo>
                <a:cubicBezTo>
                  <a:pt x="549140" y="37399"/>
                  <a:pt x="569094" y="76402"/>
                  <a:pt x="569094" y="106758"/>
                </a:cubicBezTo>
                <a:cubicBezTo>
                  <a:pt x="569094" y="149369"/>
                  <a:pt x="536245" y="165635"/>
                  <a:pt x="526735" y="169129"/>
                </a:cubicBezTo>
                <a:lnTo>
                  <a:pt x="526735" y="170561"/>
                </a:lnTo>
                <a:cubicBezTo>
                  <a:pt x="531286" y="171821"/>
                  <a:pt x="540972" y="176346"/>
                  <a:pt x="553574" y="198510"/>
                </a:cubicBezTo>
                <a:lnTo>
                  <a:pt x="591907" y="264891"/>
                </a:lnTo>
                <a:lnTo>
                  <a:pt x="544473" y="264891"/>
                </a:lnTo>
                <a:lnTo>
                  <a:pt x="511391" y="207388"/>
                </a:lnTo>
                <a:cubicBezTo>
                  <a:pt x="498088" y="183905"/>
                  <a:pt x="492662" y="176288"/>
                  <a:pt x="471366" y="176288"/>
                </a:cubicBezTo>
                <a:lnTo>
                  <a:pt x="456547" y="176288"/>
                </a:lnTo>
                <a:lnTo>
                  <a:pt x="456547" y="264891"/>
                </a:lnTo>
                <a:lnTo>
                  <a:pt x="415355" y="264891"/>
                </a:lnTo>
                <a:close/>
                <a:moveTo>
                  <a:pt x="983399" y="34536"/>
                </a:moveTo>
                <a:cubicBezTo>
                  <a:pt x="1008195" y="34536"/>
                  <a:pt x="1032349" y="40550"/>
                  <a:pt x="1050612" y="49885"/>
                </a:cubicBezTo>
                <a:lnTo>
                  <a:pt x="1039001" y="84823"/>
                </a:lnTo>
                <a:cubicBezTo>
                  <a:pt x="1023539" y="75258"/>
                  <a:pt x="1004869" y="69473"/>
                  <a:pt x="986491" y="69473"/>
                </a:cubicBezTo>
                <a:cubicBezTo>
                  <a:pt x="936373" y="69473"/>
                  <a:pt x="911693" y="102634"/>
                  <a:pt x="911693" y="151718"/>
                </a:cubicBezTo>
                <a:cubicBezTo>
                  <a:pt x="911693" y="200802"/>
                  <a:pt x="936022" y="232932"/>
                  <a:pt x="985032" y="232932"/>
                </a:cubicBezTo>
                <a:cubicBezTo>
                  <a:pt x="1000260" y="232932"/>
                  <a:pt x="1009712" y="230125"/>
                  <a:pt x="1018697" y="226002"/>
                </a:cubicBezTo>
                <a:lnTo>
                  <a:pt x="1018697" y="175028"/>
                </a:lnTo>
                <a:lnTo>
                  <a:pt x="983340" y="175028"/>
                </a:lnTo>
                <a:lnTo>
                  <a:pt x="994251" y="142153"/>
                </a:lnTo>
                <a:lnTo>
                  <a:pt x="994251" y="142096"/>
                </a:lnTo>
                <a:lnTo>
                  <a:pt x="1060413" y="142096"/>
                </a:lnTo>
                <a:lnTo>
                  <a:pt x="1060413" y="249484"/>
                </a:lnTo>
                <a:cubicBezTo>
                  <a:pt x="1039701" y="259850"/>
                  <a:pt x="1013621" y="267811"/>
                  <a:pt x="981881" y="267811"/>
                </a:cubicBezTo>
                <a:cubicBezTo>
                  <a:pt x="907376" y="267811"/>
                  <a:pt x="867526" y="219759"/>
                  <a:pt x="867526" y="154467"/>
                </a:cubicBezTo>
                <a:cubicBezTo>
                  <a:pt x="867526" y="85338"/>
                  <a:pt x="912568" y="34536"/>
                  <a:pt x="983399" y="34536"/>
                </a:cubicBezTo>
                <a:close/>
                <a:moveTo>
                  <a:pt x="718630" y="34536"/>
                </a:moveTo>
                <a:cubicBezTo>
                  <a:pt x="785960" y="34536"/>
                  <a:pt x="826860" y="82589"/>
                  <a:pt x="826860" y="151374"/>
                </a:cubicBezTo>
                <a:cubicBezTo>
                  <a:pt x="826860" y="220160"/>
                  <a:pt x="784910" y="267869"/>
                  <a:pt x="718630" y="267869"/>
                </a:cubicBezTo>
                <a:cubicBezTo>
                  <a:pt x="652351" y="267869"/>
                  <a:pt x="610401" y="221191"/>
                  <a:pt x="610401" y="151374"/>
                </a:cubicBezTo>
                <a:cubicBezTo>
                  <a:pt x="610401" y="82245"/>
                  <a:pt x="651300" y="34536"/>
                  <a:pt x="718630" y="34536"/>
                </a:cubicBezTo>
                <a:close/>
                <a:moveTo>
                  <a:pt x="1613812" y="34478"/>
                </a:moveTo>
                <a:cubicBezTo>
                  <a:pt x="1646835" y="34478"/>
                  <a:pt x="1664689" y="40320"/>
                  <a:pt x="1667956" y="41294"/>
                </a:cubicBezTo>
                <a:lnTo>
                  <a:pt x="1667956" y="79324"/>
                </a:lnTo>
                <a:cubicBezTo>
                  <a:pt x="1663872" y="77835"/>
                  <a:pt x="1643743" y="69358"/>
                  <a:pt x="1617722" y="69358"/>
                </a:cubicBezTo>
                <a:cubicBezTo>
                  <a:pt x="1608007" y="69358"/>
                  <a:pt x="1598803" y="71291"/>
                  <a:pt x="1592028" y="75472"/>
                </a:cubicBezTo>
                <a:lnTo>
                  <a:pt x="1580936" y="95021"/>
                </a:lnTo>
                <a:lnTo>
                  <a:pt x="1580906" y="94959"/>
                </a:lnTo>
                <a:lnTo>
                  <a:pt x="1580906" y="95074"/>
                </a:lnTo>
                <a:lnTo>
                  <a:pt x="1580936" y="95021"/>
                </a:lnTo>
                <a:lnTo>
                  <a:pt x="1590241" y="113931"/>
                </a:lnTo>
                <a:cubicBezTo>
                  <a:pt x="1596046" y="119000"/>
                  <a:pt x="1604127" y="123252"/>
                  <a:pt x="1613229" y="128006"/>
                </a:cubicBezTo>
                <a:cubicBezTo>
                  <a:pt x="1618597" y="130813"/>
                  <a:pt x="1622914" y="133104"/>
                  <a:pt x="1628632" y="136082"/>
                </a:cubicBezTo>
                <a:cubicBezTo>
                  <a:pt x="1661305" y="153149"/>
                  <a:pt x="1681201" y="171305"/>
                  <a:pt x="1681201" y="199999"/>
                </a:cubicBezTo>
                <a:cubicBezTo>
                  <a:pt x="1681201" y="240377"/>
                  <a:pt x="1645727" y="267697"/>
                  <a:pt x="1598234" y="267697"/>
                </a:cubicBezTo>
                <a:cubicBezTo>
                  <a:pt x="1559377" y="267697"/>
                  <a:pt x="1533063" y="254524"/>
                  <a:pt x="1529796" y="252576"/>
                </a:cubicBezTo>
                <a:lnTo>
                  <a:pt x="1540998" y="218957"/>
                </a:lnTo>
                <a:cubicBezTo>
                  <a:pt x="1544441" y="220790"/>
                  <a:pt x="1564453" y="232645"/>
                  <a:pt x="1597476" y="232645"/>
                </a:cubicBezTo>
                <a:cubicBezTo>
                  <a:pt x="1616788" y="232645"/>
                  <a:pt x="1636159" y="223367"/>
                  <a:pt x="1636159" y="203665"/>
                </a:cubicBezTo>
                <a:cubicBezTo>
                  <a:pt x="1636159" y="186368"/>
                  <a:pt x="1622214" y="178579"/>
                  <a:pt x="1603135" y="168614"/>
                </a:cubicBezTo>
                <a:cubicBezTo>
                  <a:pt x="1598118" y="165979"/>
                  <a:pt x="1591758" y="162657"/>
                  <a:pt x="1586507" y="159908"/>
                </a:cubicBezTo>
                <a:cubicBezTo>
                  <a:pt x="1563519" y="147937"/>
                  <a:pt x="1535922" y="130755"/>
                  <a:pt x="1535922" y="97308"/>
                </a:cubicBezTo>
                <a:cubicBezTo>
                  <a:pt x="1535922" y="63859"/>
                  <a:pt x="1563169" y="34478"/>
                  <a:pt x="1613812" y="34478"/>
                </a:cubicBezTo>
                <a:close/>
                <a:moveTo>
                  <a:pt x="153797" y="0"/>
                </a:moveTo>
                <a:cubicBezTo>
                  <a:pt x="223519" y="0"/>
                  <a:pt x="265585" y="41123"/>
                  <a:pt x="265585" y="85280"/>
                </a:cubicBezTo>
                <a:cubicBezTo>
                  <a:pt x="265585" y="106930"/>
                  <a:pt x="257825" y="128007"/>
                  <a:pt x="247906" y="140722"/>
                </a:cubicBezTo>
                <a:cubicBezTo>
                  <a:pt x="217509" y="70332"/>
                  <a:pt x="154788" y="28866"/>
                  <a:pt x="101286" y="28866"/>
                </a:cubicBezTo>
                <a:cubicBezTo>
                  <a:pt x="81274" y="28866"/>
                  <a:pt x="65288" y="32532"/>
                  <a:pt x="54027" y="36140"/>
                </a:cubicBezTo>
                <a:cubicBezTo>
                  <a:pt x="77015" y="16896"/>
                  <a:pt x="110972" y="0"/>
                  <a:pt x="153797" y="0"/>
                </a:cubicBezTo>
                <a:close/>
              </a:path>
            </a:pathLst>
          </a:custGeom>
          <a:solidFill>
            <a:srgbClr val="DA291C"/>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2710560095"/>
      </p:ext>
    </p:extLst>
  </p:cSld>
  <p:clrMap bg1="lt1" tx1="dk1" bg2="lt2" tx2="dk2" accent1="accent1" accent2="accent2" accent3="accent3" accent4="accent4" accent5="accent5" accent6="accent6" hlink="hlink" folHlink="folHlink"/>
  <p:sldLayoutIdLst>
    <p:sldLayoutId id="2147483727" r:id="rId1"/>
    <p:sldLayoutId id="2147483756" r:id="rId2"/>
    <p:sldLayoutId id="2147483757"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30" r:id="rId19"/>
    <p:sldLayoutId id="2147483729" r:id="rId20"/>
    <p:sldLayoutId id="2147483731" r:id="rId21"/>
    <p:sldLayoutId id="2147483825" r:id="rId22"/>
    <p:sldLayoutId id="2147483748" r:id="rId23"/>
    <p:sldLayoutId id="2147483833" r:id="rId24"/>
    <p:sldLayoutId id="2147483749" r:id="rId25"/>
    <p:sldLayoutId id="2147483750" r:id="rId26"/>
    <p:sldLayoutId id="2147483751" r:id="rId27"/>
    <p:sldLayoutId id="2147483752" r:id="rId28"/>
    <p:sldLayoutId id="2147483753" r:id="rId29"/>
  </p:sldLayoutIdLst>
  <p:hf hdr="0" ftr="0" dt="0"/>
  <p:txStyles>
    <p:titleStyle>
      <a:lvl1pPr algn="l" defTabSz="914400" rtl="0" eaLnBrk="1" latinLnBrk="0" hangingPunct="1">
        <a:lnSpc>
          <a:spcPct val="90000"/>
        </a:lnSpc>
        <a:spcBef>
          <a:spcPct val="0"/>
        </a:spcBef>
        <a:buNone/>
        <a:defRPr sz="2800" b="1" i="0" kern="1200">
          <a:solidFill>
            <a:schemeClr val="tx1"/>
          </a:solidFill>
          <a:latin typeface="Ted Next" panose="020B0602030202020203" pitchFamily="34" charset="77"/>
          <a:ea typeface="+mj-ea"/>
          <a:cs typeface="+mj-cs"/>
        </a:defRPr>
      </a:lvl1pPr>
    </p:titleStyle>
    <p:bodyStyle>
      <a:lvl1pPr marL="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500"/>
        </a:spcAft>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9" userDrawn="1">
          <p15:clr>
            <a:srgbClr val="9FCC3B"/>
          </p15:clr>
        </p15:guide>
        <p15:guide id="2" pos="7306" userDrawn="1">
          <p15:clr>
            <a:srgbClr val="9FCC3B"/>
          </p15:clr>
        </p15:guide>
        <p15:guide id="3" orient="horz" pos="230" userDrawn="1">
          <p15:clr>
            <a:srgbClr val="9FCC3B"/>
          </p15:clr>
        </p15:guide>
        <p15:guide id="4" orient="horz" pos="650" userDrawn="1">
          <p15:clr>
            <a:srgbClr val="9FCC3B"/>
          </p15:clr>
        </p15:guide>
        <p15:guide id="5" orient="horz" pos="4119" userDrawn="1">
          <p15:clr>
            <a:srgbClr val="9FCC3B"/>
          </p15:clr>
        </p15:guide>
        <p15:guide id="6" pos="7488" userDrawn="1">
          <p15:clr>
            <a:srgbClr val="F26B43"/>
          </p15:clr>
        </p15:guide>
        <p15:guide id="7" pos="18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feed/hashtag/?keywords=telecom&amp;highlightedUpdateUrns=urn%3Ali%3Aactivity%3A7240819963559641088" TargetMode="External"/><Relationship Id="rId13" Type="http://schemas.openxmlformats.org/officeDocument/2006/relationships/hyperlink" Target="https://www.linkedin.com/company/ubcsauder/" TargetMode="External"/><Relationship Id="rId18" Type="http://schemas.openxmlformats.org/officeDocument/2006/relationships/hyperlink" Target="https://www.linkedin.com/feed/hashtag/?keywords=ubc&amp;highlightedUpdateUrns=urn%3Ali%3Aactivity%3A7240819963559641088" TargetMode="External"/><Relationship Id="rId3" Type="http://schemas.openxmlformats.org/officeDocument/2006/relationships/hyperlink" Target="https://www.linkedin.com/company/rogers-communications/" TargetMode="External"/><Relationship Id="rId21" Type="http://schemas.openxmlformats.org/officeDocument/2006/relationships/hyperlink" Target="https://lnkd.in/gY8TgY2G" TargetMode="External"/><Relationship Id="rId7" Type="http://schemas.openxmlformats.org/officeDocument/2006/relationships/hyperlink" Target="https://www.linkedin.com/feed/hashtag/?keywords=hackathon&amp;highlightedUpdateUrns=urn%3Ali%3Aactivity%3A7240819963559641088" TargetMode="External"/><Relationship Id="rId12" Type="http://schemas.openxmlformats.org/officeDocument/2006/relationships/hyperlink" Target="https://www.linkedin.com/company/eceubc/" TargetMode="External"/><Relationship Id="rId17" Type="http://schemas.openxmlformats.org/officeDocument/2006/relationships/hyperlink" Target="https://www.linkedin.com/feed/hashtag/?keywords=networkapis&amp;highlightedUpdateUrns=urn%3Ali%3Aactivity%3A7240819963559641088" TargetMode="External"/><Relationship Id="rId25" Type="http://schemas.openxmlformats.org/officeDocument/2006/relationships/image" Target="../media/image7.png"/><Relationship Id="rId2" Type="http://schemas.openxmlformats.org/officeDocument/2006/relationships/hyperlink" Target="https://icics.ubc.ca/2024/09/13/network-api-challenge/" TargetMode="External"/><Relationship Id="rId16" Type="http://schemas.openxmlformats.org/officeDocument/2006/relationships/hyperlink" Target="https://www.linkedin.com/feed/hashtag/?keywords=5g&amp;highlightedUpdateUrns=urn%3Ali%3Aactivity%3A7240819963559641088" TargetMode="External"/><Relationship Id="rId20" Type="http://schemas.openxmlformats.org/officeDocument/2006/relationships/hyperlink" Target="https://lnkd.in/gD_DvYNn" TargetMode="External"/><Relationship Id="rId1" Type="http://schemas.openxmlformats.org/officeDocument/2006/relationships/slideLayout" Target="../slideLayouts/slideLayout14.xml"/><Relationship Id="rId6" Type="http://schemas.openxmlformats.org/officeDocument/2006/relationships/hyperlink" Target="https://www.linkedin.com/company/gsma/" TargetMode="External"/><Relationship Id="rId11" Type="http://schemas.openxmlformats.org/officeDocument/2006/relationships/hyperlink" Target="https://www.linkedin.com/company/ubcengineering/" TargetMode="External"/><Relationship Id="rId24" Type="http://schemas.openxmlformats.org/officeDocument/2006/relationships/image" Target="../media/image6.png"/><Relationship Id="rId5" Type="http://schemas.openxmlformats.org/officeDocument/2006/relationships/hyperlink" Target="https://www.linkedin.com/company/ericsson/" TargetMode="External"/><Relationship Id="rId15" Type="http://schemas.openxmlformats.org/officeDocument/2006/relationships/hyperlink" Target="https://www.linkedin.com/company/ubcokanagan/" TargetMode="External"/><Relationship Id="rId23" Type="http://schemas.openxmlformats.org/officeDocument/2006/relationships/image" Target="../media/image5.png"/><Relationship Id="rId10" Type="http://schemas.openxmlformats.org/officeDocument/2006/relationships/hyperlink" Target="https://www.linkedin.com/company/ubc-computer-science/" TargetMode="External"/><Relationship Id="rId19" Type="http://schemas.openxmlformats.org/officeDocument/2006/relationships/hyperlink" Target="https://lnkd.in/ggz9pdr7" TargetMode="External"/><Relationship Id="rId4" Type="http://schemas.openxmlformats.org/officeDocument/2006/relationships/hyperlink" Target="https://www.linkedin.com/company/universityofbc/" TargetMode="External"/><Relationship Id="rId9" Type="http://schemas.openxmlformats.org/officeDocument/2006/relationships/hyperlink" Target="https://www.linkedin.com/company/ubc-science/" TargetMode="External"/><Relationship Id="rId14" Type="http://schemas.openxmlformats.org/officeDocument/2006/relationships/hyperlink" Target="https://www.linkedin.com/company/ubcgradschool/" TargetMode="External"/><Relationship Id="rId22" Type="http://schemas.openxmlformats.org/officeDocument/2006/relationships/hyperlink" Target="https://lnkd.in/gGi_6Pau"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14.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hyperlink" Target="https://editor.swagger.io/?url=https://raw.githubusercontent.com/camaraproject/NumberVerification/r1.2/code/API_definitions/number-verification.yaml" TargetMode="External"/><Relationship Id="rId2" Type="http://schemas.openxmlformats.org/officeDocument/2006/relationships/hyperlink" Target="https://github.com/questsin/UBC-Rogers-CAMARA-Hackathon" TargetMode="External"/><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github.com/questsin/UBC-Rogers-CAMARA-Hackathon" TargetMode="External"/><Relationship Id="rId1" Type="http://schemas.openxmlformats.org/officeDocument/2006/relationships/slideLayout" Target="../slideLayouts/slideLayout14.xml"/><Relationship Id="rId4" Type="http://schemas.openxmlformats.org/officeDocument/2006/relationships/image" Target="../media/image37.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icics.ubc.ca/2024/09/13/network-api-challenge/" TargetMode="Externa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9.png"/><Relationship Id="rId2" Type="http://schemas.openxmlformats.org/officeDocument/2006/relationships/image" Target="../media/image20.jpeg"/><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D9818A-0D77-93E6-4E36-7CA08A973E9F}"/>
              </a:ext>
            </a:extLst>
          </p:cNvPr>
          <p:cNvSpPr>
            <a:spLocks noGrp="1"/>
          </p:cNvSpPr>
          <p:nvPr>
            <p:ph type="title"/>
          </p:nvPr>
        </p:nvSpPr>
        <p:spPr/>
        <p:txBody>
          <a:bodyPr>
            <a:normAutofit fontScale="90000"/>
          </a:bodyPr>
          <a:lstStyle/>
          <a:p>
            <a:r>
              <a:rPr lang="en-CA" dirty="0">
                <a:hlinkClick r:id="rId2"/>
              </a:rPr>
              <a:t>Network API Challenge | Institute for Computing, Information and Cognitive Systems (ICICS) (ubc.ca)</a:t>
            </a:r>
            <a:endParaRPr lang="en-US" dirty="0"/>
          </a:p>
        </p:txBody>
      </p:sp>
      <p:sp>
        <p:nvSpPr>
          <p:cNvPr id="4" name="Slide Number Placeholder 3">
            <a:extLst>
              <a:ext uri="{FF2B5EF4-FFF2-40B4-BE49-F238E27FC236}">
                <a16:creationId xmlns:a16="http://schemas.microsoft.com/office/drawing/2014/main" id="{50A6C741-8977-681D-AFFC-670B53B298E4}"/>
              </a:ext>
            </a:extLst>
          </p:cNvPr>
          <p:cNvSpPr>
            <a:spLocks noGrp="1"/>
          </p:cNvSpPr>
          <p:nvPr>
            <p:ph type="sldNum" sz="quarter" idx="12"/>
          </p:nvPr>
        </p:nvSpPr>
        <p:spPr/>
        <p:txBody>
          <a:bodyPr/>
          <a:lstStyle/>
          <a:p>
            <a:fld id="{37FA3778-6BAA-AD46-B30E-6B3D07CF735F}" type="slidenum">
              <a:rPr lang="en-US" smtClean="0"/>
              <a:t>1</a:t>
            </a:fld>
            <a:endParaRPr lang="en-US"/>
          </a:p>
        </p:txBody>
      </p:sp>
      <p:sp>
        <p:nvSpPr>
          <p:cNvPr id="11" name="Text Placeholder 10">
            <a:extLst>
              <a:ext uri="{FF2B5EF4-FFF2-40B4-BE49-F238E27FC236}">
                <a16:creationId xmlns:a16="http://schemas.microsoft.com/office/drawing/2014/main" id="{3036E9F7-F2A1-B52C-6259-64791605FBC5}"/>
              </a:ext>
            </a:extLst>
          </p:cNvPr>
          <p:cNvSpPr>
            <a:spLocks noGrp="1"/>
          </p:cNvSpPr>
          <p:nvPr>
            <p:ph type="body" sz="quarter" idx="20"/>
          </p:nvPr>
        </p:nvSpPr>
        <p:spPr>
          <a:xfrm>
            <a:off x="601663" y="1450253"/>
            <a:ext cx="10988674" cy="2146530"/>
          </a:xfrm>
        </p:spPr>
        <p:txBody>
          <a:bodyPr/>
          <a:lstStyle/>
          <a:p>
            <a:pPr marL="1350" indent="0">
              <a:buNone/>
            </a:pPr>
            <a:r>
              <a:rPr lang="en-CA" i="0" dirty="0">
                <a:effectLst/>
                <a:latin typeface="var(--artdeco-reset-typography-font-family-sans)"/>
                <a:hlinkClick r:id="rId3"/>
              </a:rPr>
              <a:t>Rogers Communications</a:t>
            </a:r>
            <a:r>
              <a:rPr lang="en-CA" b="0" i="0" dirty="0">
                <a:effectLst/>
                <a:latin typeface="-apple-system"/>
              </a:rPr>
              <a:t> and </a:t>
            </a:r>
            <a:r>
              <a:rPr lang="en-CA" i="0" dirty="0">
                <a:effectLst/>
                <a:latin typeface="var(--artdeco-reset-typography-font-family-sans)"/>
                <a:hlinkClick r:id="rId4"/>
              </a:rPr>
              <a:t>The University of British Columbia</a:t>
            </a:r>
            <a:r>
              <a:rPr lang="en-CA" b="0" i="0" dirty="0">
                <a:effectLst/>
                <a:latin typeface="-apple-system"/>
              </a:rPr>
              <a:t> (UBC), in collaboration with </a:t>
            </a:r>
            <a:r>
              <a:rPr lang="en-CA" i="0" dirty="0">
                <a:effectLst/>
                <a:latin typeface="var(--artdeco-reset-typography-font-family-sans)"/>
                <a:hlinkClick r:id="rId5"/>
              </a:rPr>
              <a:t>Ericsson</a:t>
            </a:r>
            <a:r>
              <a:rPr lang="en-CA" b="0" i="0" dirty="0">
                <a:effectLst/>
                <a:latin typeface="-apple-system"/>
              </a:rPr>
              <a:t>, </a:t>
            </a:r>
            <a:r>
              <a:rPr lang="en-CA" i="0" dirty="0">
                <a:effectLst/>
                <a:latin typeface="var(--artdeco-reset-typography-font-family-sans)"/>
                <a:hlinkClick r:id="rId6"/>
              </a:rPr>
              <a:t>GSMA</a:t>
            </a:r>
            <a:r>
              <a:rPr lang="en-CA" b="0" i="0" dirty="0">
                <a:effectLst/>
                <a:latin typeface="-apple-system"/>
              </a:rPr>
              <a:t> and partners, are organizing a </a:t>
            </a:r>
            <a:r>
              <a:rPr lang="en-CA" i="0" dirty="0">
                <a:effectLst/>
                <a:latin typeface="var(--artdeco-reset-typography-font-family-sans)"/>
                <a:hlinkClick r:id="rId7"/>
              </a:rPr>
              <a:t>hashtag#hackathon</a:t>
            </a:r>
            <a:r>
              <a:rPr lang="en-CA" b="0" i="0" dirty="0">
                <a:effectLst/>
                <a:latin typeface="-apple-system"/>
              </a:rPr>
              <a:t> based on a digital transformation that shakes the global </a:t>
            </a:r>
            <a:r>
              <a:rPr lang="en-CA" i="0" dirty="0">
                <a:effectLst/>
                <a:latin typeface="var(--artdeco-reset-typography-font-family-sans)"/>
                <a:hlinkClick r:id="rId8"/>
              </a:rPr>
              <a:t>hashtag#telecom</a:t>
            </a:r>
            <a:r>
              <a:rPr lang="en-CA" b="0" i="0" dirty="0">
                <a:effectLst/>
                <a:latin typeface="-apple-system"/>
              </a:rPr>
              <a:t> industry on Thursday [1], namely Network APIs [2].</a:t>
            </a:r>
            <a:br>
              <a:rPr lang="en-CA" b="0" i="0" dirty="0">
                <a:effectLst/>
                <a:latin typeface="-apple-system"/>
              </a:rPr>
            </a:br>
            <a:br>
              <a:rPr lang="en-CA" b="0" i="0" dirty="0">
                <a:effectLst/>
                <a:latin typeface="-apple-system"/>
              </a:rPr>
            </a:br>
            <a:r>
              <a:rPr lang="en-CA" b="0" i="0" dirty="0">
                <a:effectLst/>
                <a:latin typeface="-apple-system"/>
              </a:rPr>
              <a:t>The weekend event on October 4-6, 2024 at UBC's Point Grey campus is open to all UBC students who like to write software and business cases. This includes, but not limited to, our students in </a:t>
            </a:r>
            <a:r>
              <a:rPr lang="en-CA" i="0" dirty="0">
                <a:effectLst/>
                <a:latin typeface="var(--artdeco-reset-typography-font-family-sans)"/>
                <a:hlinkClick r:id="rId9"/>
              </a:rPr>
              <a:t>UBC Science</a:t>
            </a:r>
            <a:r>
              <a:rPr lang="en-CA" b="0" i="0" dirty="0">
                <a:effectLst/>
                <a:latin typeface="-apple-system"/>
              </a:rPr>
              <a:t>, </a:t>
            </a:r>
            <a:r>
              <a:rPr lang="en-CA" i="0" dirty="0">
                <a:effectLst/>
                <a:latin typeface="var(--artdeco-reset-typography-font-family-sans)"/>
                <a:hlinkClick r:id="rId10"/>
              </a:rPr>
              <a:t>UBC Computer Science</a:t>
            </a:r>
            <a:r>
              <a:rPr lang="en-CA" b="0" i="0" dirty="0">
                <a:effectLst/>
                <a:latin typeface="-apple-system"/>
              </a:rPr>
              <a:t>, </a:t>
            </a:r>
            <a:r>
              <a:rPr lang="en-CA" i="0" dirty="0">
                <a:effectLst/>
                <a:latin typeface="var(--artdeco-reset-typography-font-family-sans)"/>
                <a:hlinkClick r:id="rId11"/>
              </a:rPr>
              <a:t>UBC Engineering</a:t>
            </a:r>
            <a:r>
              <a:rPr lang="en-CA" b="0" i="0" dirty="0">
                <a:effectLst/>
                <a:latin typeface="-apple-system"/>
              </a:rPr>
              <a:t>, </a:t>
            </a:r>
            <a:r>
              <a:rPr lang="en-CA" i="0" dirty="0">
                <a:effectLst/>
                <a:latin typeface="var(--artdeco-reset-typography-font-family-sans)"/>
                <a:hlinkClick r:id="rId12"/>
              </a:rPr>
              <a:t>UBC Electrical and Computer Engineering</a:t>
            </a:r>
            <a:r>
              <a:rPr lang="en-CA" b="0" i="0" dirty="0">
                <a:effectLst/>
                <a:latin typeface="-apple-system"/>
              </a:rPr>
              <a:t>, </a:t>
            </a:r>
            <a:r>
              <a:rPr lang="en-CA" i="0" dirty="0">
                <a:effectLst/>
                <a:latin typeface="var(--artdeco-reset-typography-font-family-sans)"/>
                <a:hlinkClick r:id="rId13"/>
              </a:rPr>
              <a:t>UBC Sauder School of Business</a:t>
            </a:r>
            <a:r>
              <a:rPr lang="en-CA" b="0" i="0" dirty="0">
                <a:effectLst/>
                <a:latin typeface="-apple-system"/>
              </a:rPr>
              <a:t>, </a:t>
            </a:r>
            <a:r>
              <a:rPr lang="en-CA" i="0" dirty="0">
                <a:effectLst/>
                <a:latin typeface="var(--artdeco-reset-typography-font-family-sans)"/>
                <a:hlinkClick r:id="rId14"/>
              </a:rPr>
              <a:t>UBC Graduate School</a:t>
            </a:r>
            <a:r>
              <a:rPr lang="en-CA" b="0" i="0" dirty="0">
                <a:effectLst/>
                <a:latin typeface="-apple-system"/>
              </a:rPr>
              <a:t>, and </a:t>
            </a:r>
            <a:r>
              <a:rPr lang="en-CA" i="0" dirty="0">
                <a:effectLst/>
                <a:latin typeface="var(--artdeco-reset-typography-font-family-sans)"/>
                <a:hlinkClick r:id="rId15"/>
              </a:rPr>
              <a:t>UBC Okanagan</a:t>
            </a:r>
            <a:r>
              <a:rPr lang="en-CA" b="0" i="0" dirty="0">
                <a:effectLst/>
                <a:latin typeface="-apple-system"/>
              </a:rPr>
              <a:t>.</a:t>
            </a:r>
            <a:br>
              <a:rPr lang="en-CA" b="0" i="0" dirty="0">
                <a:effectLst/>
                <a:latin typeface="-apple-system"/>
              </a:rPr>
            </a:br>
            <a:br>
              <a:rPr lang="en-CA" b="0" i="0" dirty="0">
                <a:effectLst/>
                <a:latin typeface="-apple-system"/>
              </a:rPr>
            </a:br>
            <a:r>
              <a:rPr lang="en-CA" b="0" i="0" dirty="0">
                <a:effectLst/>
                <a:latin typeface="-apple-system"/>
              </a:rPr>
              <a:t>Be one of the first cohorts of students in Canada to experience (and work with) the next game changer in </a:t>
            </a:r>
            <a:r>
              <a:rPr lang="en-CA" i="0" dirty="0">
                <a:effectLst/>
                <a:latin typeface="var(--artdeco-reset-typography-font-family-sans)"/>
                <a:hlinkClick r:id="rId16"/>
              </a:rPr>
              <a:t>hashtag#5G</a:t>
            </a:r>
            <a:r>
              <a:rPr lang="en-CA" b="0" i="0" dirty="0">
                <a:effectLst/>
                <a:latin typeface="-apple-system"/>
              </a:rPr>
              <a:t> technology [3]. Sign up for the </a:t>
            </a:r>
            <a:r>
              <a:rPr lang="en-CA" i="0" dirty="0">
                <a:effectLst/>
                <a:latin typeface="var(--artdeco-reset-typography-font-family-sans)"/>
                <a:hlinkClick r:id="rId17"/>
              </a:rPr>
              <a:t>hashtag#networkAPIs</a:t>
            </a:r>
            <a:r>
              <a:rPr lang="en-CA" b="0" i="0" dirty="0">
                <a:effectLst/>
                <a:latin typeface="-apple-system"/>
              </a:rPr>
              <a:t> hackathon and the preparation workshop with your </a:t>
            </a:r>
            <a:r>
              <a:rPr lang="en-CA" i="0" dirty="0">
                <a:effectLst/>
                <a:latin typeface="var(--artdeco-reset-typography-font-family-sans)"/>
                <a:hlinkClick r:id="rId18"/>
              </a:rPr>
              <a:t>hashtag#UBC</a:t>
            </a:r>
            <a:r>
              <a:rPr lang="en-CA" b="0" i="0" dirty="0">
                <a:effectLst/>
                <a:latin typeface="-apple-system"/>
              </a:rPr>
              <a:t> student email here: </a:t>
            </a:r>
            <a:r>
              <a:rPr lang="en-CA" i="0" dirty="0">
                <a:effectLst/>
                <a:latin typeface="-apple-system"/>
                <a:hlinkClick r:id="rId19"/>
              </a:rPr>
              <a:t>https://lnkd.in/ggz9pdr7</a:t>
            </a:r>
            <a:endParaRPr lang="en-CA" i="0" dirty="0">
              <a:effectLst/>
              <a:latin typeface="-apple-system"/>
            </a:endParaRPr>
          </a:p>
          <a:p>
            <a:pPr marL="1350" indent="0">
              <a:buNone/>
            </a:pPr>
            <a:endParaRPr lang="en-CA" dirty="0">
              <a:latin typeface="-apple-system"/>
            </a:endParaRPr>
          </a:p>
          <a:p>
            <a:pPr marL="1350" indent="0">
              <a:buNone/>
            </a:pPr>
            <a:r>
              <a:rPr lang="en-CA" b="0" i="0" dirty="0">
                <a:effectLst/>
                <a:latin typeface="-apple-system"/>
              </a:rPr>
              <a:t>References:</a:t>
            </a:r>
            <a:br>
              <a:rPr lang="en-CA" b="0" i="0" dirty="0">
                <a:effectLst/>
                <a:latin typeface="-apple-system"/>
              </a:rPr>
            </a:br>
            <a:r>
              <a:rPr lang="en-CA" b="0" i="0" dirty="0">
                <a:effectLst/>
                <a:latin typeface="-apple-system"/>
              </a:rPr>
              <a:t>[1] Global telecom leaders join forces to redefine the industry with network APIs </a:t>
            </a:r>
            <a:r>
              <a:rPr lang="en-CA" i="0" dirty="0">
                <a:effectLst/>
                <a:latin typeface="-apple-system"/>
                <a:hlinkClick r:id="rId20"/>
              </a:rPr>
              <a:t>https://lnkd.in/gD_DvYNn</a:t>
            </a:r>
            <a:br>
              <a:rPr lang="en-CA" b="0" i="0" dirty="0">
                <a:effectLst/>
                <a:latin typeface="-apple-system"/>
              </a:rPr>
            </a:br>
            <a:r>
              <a:rPr lang="en-CA" b="0" i="0" dirty="0">
                <a:effectLst/>
                <a:latin typeface="-apple-system"/>
              </a:rPr>
              <a:t>[2] GSMA Open Gateway API Descriptions </a:t>
            </a:r>
            <a:r>
              <a:rPr lang="en-CA" i="0" dirty="0">
                <a:effectLst/>
                <a:latin typeface="-apple-system"/>
                <a:hlinkClick r:id="rId21"/>
              </a:rPr>
              <a:t>https://lnkd.in/gY8TgY2G</a:t>
            </a:r>
            <a:br>
              <a:rPr lang="en-CA" b="0" i="0" dirty="0">
                <a:effectLst/>
                <a:latin typeface="-apple-system"/>
              </a:rPr>
            </a:br>
            <a:r>
              <a:rPr lang="en-CA" b="0" i="0" dirty="0">
                <a:effectLst/>
                <a:latin typeface="-apple-system"/>
              </a:rPr>
              <a:t>[3] Discover the potential of Network APIs </a:t>
            </a:r>
            <a:r>
              <a:rPr lang="en-CA" i="0" dirty="0">
                <a:effectLst/>
                <a:latin typeface="-apple-system"/>
                <a:hlinkClick r:id="rId22"/>
              </a:rPr>
              <a:t>https://lnkd.in/gGi_6Pau</a:t>
            </a:r>
            <a:endParaRPr lang="en-CA" i="0" dirty="0">
              <a:effectLst/>
              <a:latin typeface="-apple-system"/>
            </a:endParaRPr>
          </a:p>
          <a:p>
            <a:pPr marL="1350" indent="0">
              <a:buNone/>
            </a:pPr>
            <a:endParaRPr lang="en-US" dirty="0"/>
          </a:p>
          <a:p>
            <a:endParaRPr lang="en-US" dirty="0"/>
          </a:p>
        </p:txBody>
      </p:sp>
      <p:pic>
        <p:nvPicPr>
          <p:cNvPr id="14" name="Picture 13">
            <a:extLst>
              <a:ext uri="{FF2B5EF4-FFF2-40B4-BE49-F238E27FC236}">
                <a16:creationId xmlns:a16="http://schemas.microsoft.com/office/drawing/2014/main" id="{D2F16B25-AEE5-C0E5-986E-AD16BA052515}"/>
              </a:ext>
            </a:extLst>
          </p:cNvPr>
          <p:cNvPicPr>
            <a:picLocks noChangeAspect="1"/>
          </p:cNvPicPr>
          <p:nvPr/>
        </p:nvPicPr>
        <p:blipFill>
          <a:blip r:embed="rId23"/>
          <a:stretch>
            <a:fillRect/>
          </a:stretch>
        </p:blipFill>
        <p:spPr>
          <a:xfrm>
            <a:off x="908588" y="6117635"/>
            <a:ext cx="1447800" cy="419100"/>
          </a:xfrm>
          <a:prstGeom prst="rect">
            <a:avLst/>
          </a:prstGeom>
        </p:spPr>
      </p:pic>
      <p:pic>
        <p:nvPicPr>
          <p:cNvPr id="15" name="Picture 14">
            <a:extLst>
              <a:ext uri="{FF2B5EF4-FFF2-40B4-BE49-F238E27FC236}">
                <a16:creationId xmlns:a16="http://schemas.microsoft.com/office/drawing/2014/main" id="{85E00EB5-90E1-72F8-CE6F-6CBE3F55D5D6}"/>
              </a:ext>
            </a:extLst>
          </p:cNvPr>
          <p:cNvPicPr>
            <a:picLocks noChangeAspect="1"/>
          </p:cNvPicPr>
          <p:nvPr/>
        </p:nvPicPr>
        <p:blipFill>
          <a:blip r:embed="rId24"/>
          <a:stretch>
            <a:fillRect/>
          </a:stretch>
        </p:blipFill>
        <p:spPr>
          <a:xfrm>
            <a:off x="4334358" y="6184469"/>
            <a:ext cx="609600" cy="533400"/>
          </a:xfrm>
          <a:prstGeom prst="rect">
            <a:avLst/>
          </a:prstGeom>
        </p:spPr>
      </p:pic>
      <p:pic>
        <p:nvPicPr>
          <p:cNvPr id="16" name="Picture 15">
            <a:extLst>
              <a:ext uri="{FF2B5EF4-FFF2-40B4-BE49-F238E27FC236}">
                <a16:creationId xmlns:a16="http://schemas.microsoft.com/office/drawing/2014/main" id="{DC7AF171-31EA-8E24-F9A3-C603544E96A3}"/>
              </a:ext>
            </a:extLst>
          </p:cNvPr>
          <p:cNvPicPr>
            <a:picLocks noChangeAspect="1"/>
          </p:cNvPicPr>
          <p:nvPr/>
        </p:nvPicPr>
        <p:blipFill>
          <a:blip r:embed="rId25"/>
          <a:stretch>
            <a:fillRect/>
          </a:stretch>
        </p:blipFill>
        <p:spPr>
          <a:xfrm>
            <a:off x="7229207" y="6172523"/>
            <a:ext cx="368300" cy="495300"/>
          </a:xfrm>
          <a:prstGeom prst="rect">
            <a:avLst/>
          </a:prstGeom>
        </p:spPr>
      </p:pic>
    </p:spTree>
    <p:extLst>
      <p:ext uri="{BB962C8B-B14F-4D97-AF65-F5344CB8AC3E}">
        <p14:creationId xmlns:p14="http://schemas.microsoft.com/office/powerpoint/2010/main" val="2847714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234CEA-6A9D-7AAA-BE2B-813C1F162EBF}"/>
              </a:ext>
            </a:extLst>
          </p:cNvPr>
          <p:cNvSpPr>
            <a:spLocks noGrp="1"/>
          </p:cNvSpPr>
          <p:nvPr>
            <p:ph type="title"/>
          </p:nvPr>
        </p:nvSpPr>
        <p:spPr/>
        <p:txBody>
          <a:bodyPr/>
          <a:lstStyle/>
          <a:p>
            <a:r>
              <a:rPr lang="en-US"/>
              <a:t>Network API Use Cases</a:t>
            </a:r>
          </a:p>
        </p:txBody>
      </p:sp>
      <p:sp>
        <p:nvSpPr>
          <p:cNvPr id="4" name="Slide Number Placeholder 3">
            <a:extLst>
              <a:ext uri="{FF2B5EF4-FFF2-40B4-BE49-F238E27FC236}">
                <a16:creationId xmlns:a16="http://schemas.microsoft.com/office/drawing/2014/main" id="{DCE18226-8F28-66E6-0246-75E764D505A3}"/>
              </a:ext>
            </a:extLst>
          </p:cNvPr>
          <p:cNvSpPr>
            <a:spLocks noGrp="1"/>
          </p:cNvSpPr>
          <p:nvPr>
            <p:ph type="sldNum" sz="quarter" idx="12"/>
          </p:nvPr>
        </p:nvSpPr>
        <p:spPr/>
        <p:txBody>
          <a:bodyPr/>
          <a:lstStyle/>
          <a:p>
            <a:fld id="{37FA3778-6BAA-AD46-B30E-6B3D07CF735F}" type="slidenum">
              <a:rPr lang="en-US" smtClean="0"/>
              <a:t>10</a:t>
            </a:fld>
            <a:endParaRPr lang="en-US"/>
          </a:p>
        </p:txBody>
      </p:sp>
      <p:grpSp>
        <p:nvGrpSpPr>
          <p:cNvPr id="14" name="Group 13">
            <a:extLst>
              <a:ext uri="{FF2B5EF4-FFF2-40B4-BE49-F238E27FC236}">
                <a16:creationId xmlns:a16="http://schemas.microsoft.com/office/drawing/2014/main" id="{6A9C11BC-E6C7-E388-74D7-1E091F9F517D}"/>
              </a:ext>
            </a:extLst>
          </p:cNvPr>
          <p:cNvGrpSpPr/>
          <p:nvPr/>
        </p:nvGrpSpPr>
        <p:grpSpPr>
          <a:xfrm>
            <a:off x="632201" y="1207193"/>
            <a:ext cx="6084676" cy="3991555"/>
            <a:chOff x="3323692" y="1309653"/>
            <a:chExt cx="6084676" cy="3991555"/>
          </a:xfrm>
        </p:grpSpPr>
        <p:grpSp>
          <p:nvGrpSpPr>
            <p:cNvPr id="15" name="Group 14">
              <a:extLst>
                <a:ext uri="{FF2B5EF4-FFF2-40B4-BE49-F238E27FC236}">
                  <a16:creationId xmlns:a16="http://schemas.microsoft.com/office/drawing/2014/main" id="{953C7E1E-A5CE-018F-1D02-A5393F4B8DDA}"/>
                </a:ext>
              </a:extLst>
            </p:cNvPr>
            <p:cNvGrpSpPr/>
            <p:nvPr/>
          </p:nvGrpSpPr>
          <p:grpSpPr>
            <a:xfrm>
              <a:off x="6888088" y="3608705"/>
              <a:ext cx="2520280" cy="1692503"/>
              <a:chOff x="7680176" y="3608705"/>
              <a:chExt cx="2520280" cy="1692503"/>
            </a:xfrm>
          </p:grpSpPr>
          <p:sp>
            <p:nvSpPr>
              <p:cNvPr id="25" name="TextBox 24">
                <a:extLst>
                  <a:ext uri="{FF2B5EF4-FFF2-40B4-BE49-F238E27FC236}">
                    <a16:creationId xmlns:a16="http://schemas.microsoft.com/office/drawing/2014/main" id="{0F4D9639-3822-3E52-0157-ABF5460C9A2C}"/>
                  </a:ext>
                </a:extLst>
              </p:cNvPr>
              <p:cNvSpPr txBox="1"/>
              <p:nvPr/>
            </p:nvSpPr>
            <p:spPr>
              <a:xfrm>
                <a:off x="7680176" y="4562544"/>
                <a:ext cx="2520280" cy="738664"/>
              </a:xfrm>
              <a:prstGeom prst="rect">
                <a:avLst/>
              </a:prstGeom>
            </p:spPr>
            <p:txBody>
              <a:bodyPr wrap="square" rtlCol="0">
                <a:spAutoFit/>
              </a:bodyPr>
              <a:lstStyle/>
              <a:p>
                <a:pPr marL="0" indent="0" algn="l">
                  <a:buNone/>
                </a:pPr>
                <a:r>
                  <a:rPr lang="en-US" sz="1400" b="1" kern="100" spc="-20"/>
                  <a:t>QUALITY OF SERVICE</a:t>
                </a:r>
              </a:p>
              <a:p>
                <a:pPr marL="0" indent="0" algn="l">
                  <a:buNone/>
                </a:pPr>
                <a:r>
                  <a:rPr lang="en-US" sz="1400" kern="100" spc="-20"/>
                  <a:t>Prioritize latency based on application needs.</a:t>
                </a:r>
              </a:p>
            </p:txBody>
          </p:sp>
          <p:pic>
            <p:nvPicPr>
              <p:cNvPr id="26" name="Graphic 25" descr="Cell Tower with solid fill">
                <a:extLst>
                  <a:ext uri="{FF2B5EF4-FFF2-40B4-BE49-F238E27FC236}">
                    <a16:creationId xmlns:a16="http://schemas.microsoft.com/office/drawing/2014/main" id="{DF0F65E2-E075-DF49-19F0-E7759A6713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61399" y="3608705"/>
                <a:ext cx="914400" cy="914400"/>
              </a:xfrm>
              <a:prstGeom prst="rect">
                <a:avLst/>
              </a:prstGeom>
            </p:spPr>
          </p:pic>
        </p:grpSp>
        <p:grpSp>
          <p:nvGrpSpPr>
            <p:cNvPr id="16" name="Group 15">
              <a:extLst>
                <a:ext uri="{FF2B5EF4-FFF2-40B4-BE49-F238E27FC236}">
                  <a16:creationId xmlns:a16="http://schemas.microsoft.com/office/drawing/2014/main" id="{EEADB36B-EC7F-7BAC-17AC-531ADBAD2DDE}"/>
                </a:ext>
              </a:extLst>
            </p:cNvPr>
            <p:cNvGrpSpPr/>
            <p:nvPr/>
          </p:nvGrpSpPr>
          <p:grpSpPr>
            <a:xfrm>
              <a:off x="3323692" y="3608705"/>
              <a:ext cx="2520280" cy="1692503"/>
              <a:chOff x="2063552" y="3608705"/>
              <a:chExt cx="2520280" cy="1692503"/>
            </a:xfrm>
          </p:grpSpPr>
          <p:sp>
            <p:nvSpPr>
              <p:cNvPr id="23" name="TextBox 22">
                <a:extLst>
                  <a:ext uri="{FF2B5EF4-FFF2-40B4-BE49-F238E27FC236}">
                    <a16:creationId xmlns:a16="http://schemas.microsoft.com/office/drawing/2014/main" id="{E824540F-A383-5923-19E1-81024FC8D8C6}"/>
                  </a:ext>
                </a:extLst>
              </p:cNvPr>
              <p:cNvSpPr txBox="1"/>
              <p:nvPr/>
            </p:nvSpPr>
            <p:spPr>
              <a:xfrm>
                <a:off x="2063552" y="4562544"/>
                <a:ext cx="2520280" cy="738664"/>
              </a:xfrm>
              <a:prstGeom prst="rect">
                <a:avLst/>
              </a:prstGeom>
            </p:spPr>
            <p:txBody>
              <a:bodyPr wrap="square" rtlCol="0">
                <a:spAutoFit/>
              </a:bodyPr>
              <a:lstStyle/>
              <a:p>
                <a:pPr marL="0" indent="0" algn="l">
                  <a:buNone/>
                </a:pPr>
                <a:r>
                  <a:rPr lang="en-US" sz="1400" b="1" kern="100" spc="-20"/>
                  <a:t>DEVICE MANAGEMENT</a:t>
                </a:r>
              </a:p>
              <a:p>
                <a:pPr marL="0" indent="0" algn="l">
                  <a:buNone/>
                </a:pPr>
                <a:r>
                  <a:rPr lang="en-US" sz="1400" kern="100" spc="-20"/>
                  <a:t>Track and manage any SIM powered device.</a:t>
                </a:r>
              </a:p>
            </p:txBody>
          </p:sp>
          <p:pic>
            <p:nvPicPr>
              <p:cNvPr id="24" name="Graphic 23" descr="Internet Of Things with solid fill">
                <a:extLst>
                  <a:ext uri="{FF2B5EF4-FFF2-40B4-BE49-F238E27FC236}">
                    <a16:creationId xmlns:a16="http://schemas.microsoft.com/office/drawing/2014/main" id="{3EED1663-B986-6F57-22A6-8DA6608531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67608" y="3608705"/>
                <a:ext cx="914400" cy="914400"/>
              </a:xfrm>
              <a:prstGeom prst="rect">
                <a:avLst/>
              </a:prstGeom>
            </p:spPr>
          </p:pic>
        </p:grpSp>
        <p:grpSp>
          <p:nvGrpSpPr>
            <p:cNvPr id="17" name="Group 16">
              <a:extLst>
                <a:ext uri="{FF2B5EF4-FFF2-40B4-BE49-F238E27FC236}">
                  <a16:creationId xmlns:a16="http://schemas.microsoft.com/office/drawing/2014/main" id="{FE606513-B9C3-3E01-828C-B00EDC94E5B8}"/>
                </a:ext>
              </a:extLst>
            </p:cNvPr>
            <p:cNvGrpSpPr/>
            <p:nvPr/>
          </p:nvGrpSpPr>
          <p:grpSpPr>
            <a:xfrm>
              <a:off x="6888088" y="1309653"/>
              <a:ext cx="1876847" cy="1698699"/>
              <a:chOff x="7680176" y="1309653"/>
              <a:chExt cx="1876847" cy="1698699"/>
            </a:xfrm>
          </p:grpSpPr>
          <p:sp>
            <p:nvSpPr>
              <p:cNvPr id="21" name="TextBox 20">
                <a:extLst>
                  <a:ext uri="{FF2B5EF4-FFF2-40B4-BE49-F238E27FC236}">
                    <a16:creationId xmlns:a16="http://schemas.microsoft.com/office/drawing/2014/main" id="{B2ABAB56-AA60-582C-48B2-96D8E15FCB60}"/>
                  </a:ext>
                </a:extLst>
              </p:cNvPr>
              <p:cNvSpPr txBox="1"/>
              <p:nvPr/>
            </p:nvSpPr>
            <p:spPr>
              <a:xfrm>
                <a:off x="7680176" y="2269688"/>
                <a:ext cx="1876847" cy="738664"/>
              </a:xfrm>
              <a:prstGeom prst="rect">
                <a:avLst/>
              </a:prstGeom>
            </p:spPr>
            <p:txBody>
              <a:bodyPr wrap="square" rtlCol="0">
                <a:spAutoFit/>
              </a:bodyPr>
              <a:lstStyle/>
              <a:p>
                <a:pPr marL="0" indent="0" algn="l">
                  <a:buNone/>
                </a:pPr>
                <a:r>
                  <a:rPr lang="en-US" sz="1400" b="1" kern="100" spc="-20"/>
                  <a:t>ACCOUNT ACCESS </a:t>
                </a:r>
              </a:p>
              <a:p>
                <a:pPr marL="0" indent="0" algn="l">
                  <a:buNone/>
                </a:pPr>
                <a:r>
                  <a:rPr lang="en-US" sz="1400" kern="100" spc="-20"/>
                  <a:t>Prevent fraudulent account access.</a:t>
                </a:r>
              </a:p>
            </p:txBody>
          </p:sp>
          <p:pic>
            <p:nvPicPr>
              <p:cNvPr id="22" name="Graphic 21" descr="Target Audience with solid fill">
                <a:extLst>
                  <a:ext uri="{FF2B5EF4-FFF2-40B4-BE49-F238E27FC236}">
                    <a16:creationId xmlns:a16="http://schemas.microsoft.com/office/drawing/2014/main" id="{BDF745BD-DAEF-219C-846E-1864639EA9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61399" y="1309653"/>
                <a:ext cx="914400" cy="914400"/>
              </a:xfrm>
              <a:prstGeom prst="rect">
                <a:avLst/>
              </a:prstGeom>
            </p:spPr>
          </p:pic>
        </p:grpSp>
        <p:grpSp>
          <p:nvGrpSpPr>
            <p:cNvPr id="18" name="Group 17">
              <a:extLst>
                <a:ext uri="{FF2B5EF4-FFF2-40B4-BE49-F238E27FC236}">
                  <a16:creationId xmlns:a16="http://schemas.microsoft.com/office/drawing/2014/main" id="{4555D406-5F20-9EBA-85B2-8B7EB2BF9DD7}"/>
                </a:ext>
              </a:extLst>
            </p:cNvPr>
            <p:cNvGrpSpPr/>
            <p:nvPr/>
          </p:nvGrpSpPr>
          <p:grpSpPr>
            <a:xfrm>
              <a:off x="3323692" y="1425475"/>
              <a:ext cx="2520280" cy="1688426"/>
              <a:chOff x="2063552" y="1319926"/>
              <a:chExt cx="2520280" cy="1688426"/>
            </a:xfrm>
          </p:grpSpPr>
          <p:sp>
            <p:nvSpPr>
              <p:cNvPr id="19" name="TextBox 18">
                <a:extLst>
                  <a:ext uri="{FF2B5EF4-FFF2-40B4-BE49-F238E27FC236}">
                    <a16:creationId xmlns:a16="http://schemas.microsoft.com/office/drawing/2014/main" id="{7C7BF097-01B2-F6F0-F668-985BCF105667}"/>
                  </a:ext>
                </a:extLst>
              </p:cNvPr>
              <p:cNvSpPr txBox="1"/>
              <p:nvPr/>
            </p:nvSpPr>
            <p:spPr>
              <a:xfrm>
                <a:off x="2063552" y="2269688"/>
                <a:ext cx="2520280" cy="738664"/>
              </a:xfrm>
              <a:prstGeom prst="rect">
                <a:avLst/>
              </a:prstGeom>
            </p:spPr>
            <p:txBody>
              <a:bodyPr wrap="square" rtlCol="0">
                <a:spAutoFit/>
              </a:bodyPr>
              <a:lstStyle/>
              <a:p>
                <a:pPr marL="0" indent="0" algn="l">
                  <a:buNone/>
                </a:pPr>
                <a:r>
                  <a:rPr lang="en-US" sz="1400" b="1" kern="100" spc="-20"/>
                  <a:t>ACCOUNT CREATION</a:t>
                </a:r>
              </a:p>
              <a:p>
                <a:pPr marL="0" indent="0" algn="l">
                  <a:buNone/>
                </a:pPr>
                <a:r>
                  <a:rPr lang="en-US" sz="1400" kern="100" spc="-20"/>
                  <a:t>Validate a is person is who they claim.</a:t>
                </a:r>
              </a:p>
            </p:txBody>
          </p:sp>
          <p:pic>
            <p:nvPicPr>
              <p:cNvPr id="20" name="Graphic 19" descr="Follow with solid fill">
                <a:extLst>
                  <a:ext uri="{FF2B5EF4-FFF2-40B4-BE49-F238E27FC236}">
                    <a16:creationId xmlns:a16="http://schemas.microsoft.com/office/drawing/2014/main" id="{86D7701A-719E-FCB3-78E5-A181473342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67608" y="1319926"/>
                <a:ext cx="914400" cy="914400"/>
              </a:xfrm>
              <a:prstGeom prst="rect">
                <a:avLst/>
              </a:prstGeom>
            </p:spPr>
          </p:pic>
        </p:grpSp>
      </p:grpSp>
      <p:grpSp>
        <p:nvGrpSpPr>
          <p:cNvPr id="27" name="Group 26">
            <a:extLst>
              <a:ext uri="{FF2B5EF4-FFF2-40B4-BE49-F238E27FC236}">
                <a16:creationId xmlns:a16="http://schemas.microsoft.com/office/drawing/2014/main" id="{9AB59017-8AD9-9E99-DD5A-D170AA6E785E}"/>
              </a:ext>
            </a:extLst>
          </p:cNvPr>
          <p:cNvGrpSpPr/>
          <p:nvPr/>
        </p:nvGrpSpPr>
        <p:grpSpPr>
          <a:xfrm>
            <a:off x="6845747" y="1063177"/>
            <a:ext cx="4752528" cy="4281541"/>
            <a:chOff x="6851834" y="937890"/>
            <a:chExt cx="4752528" cy="4281541"/>
          </a:xfrm>
        </p:grpSpPr>
        <p:grpSp>
          <p:nvGrpSpPr>
            <p:cNvPr id="28" name="Group 27">
              <a:extLst>
                <a:ext uri="{FF2B5EF4-FFF2-40B4-BE49-F238E27FC236}">
                  <a16:creationId xmlns:a16="http://schemas.microsoft.com/office/drawing/2014/main" id="{462FAADF-2815-8733-96CA-E1952BA370EC}"/>
                </a:ext>
              </a:extLst>
            </p:cNvPr>
            <p:cNvGrpSpPr/>
            <p:nvPr/>
          </p:nvGrpSpPr>
          <p:grpSpPr>
            <a:xfrm>
              <a:off x="6851834" y="937890"/>
              <a:ext cx="4752528" cy="4281541"/>
              <a:chOff x="6851834" y="1264876"/>
              <a:chExt cx="4752528" cy="4281541"/>
            </a:xfrm>
          </p:grpSpPr>
          <p:grpSp>
            <p:nvGrpSpPr>
              <p:cNvPr id="31" name="Group 30">
                <a:extLst>
                  <a:ext uri="{FF2B5EF4-FFF2-40B4-BE49-F238E27FC236}">
                    <a16:creationId xmlns:a16="http://schemas.microsoft.com/office/drawing/2014/main" id="{6E4F9682-74C5-4D8A-6179-99623FC63685}"/>
                  </a:ext>
                </a:extLst>
              </p:cNvPr>
              <p:cNvGrpSpPr/>
              <p:nvPr/>
            </p:nvGrpSpPr>
            <p:grpSpPr>
              <a:xfrm>
                <a:off x="6851834" y="1264876"/>
                <a:ext cx="4752528" cy="4281541"/>
                <a:chOff x="6826509" y="1029866"/>
                <a:chExt cx="4752528" cy="4281541"/>
              </a:xfrm>
            </p:grpSpPr>
            <p:sp>
              <p:nvSpPr>
                <p:cNvPr id="34" name="Rounded Rectangle 33">
                  <a:extLst>
                    <a:ext uri="{FF2B5EF4-FFF2-40B4-BE49-F238E27FC236}">
                      <a16:creationId xmlns:a16="http://schemas.microsoft.com/office/drawing/2014/main" id="{D3E22A0D-D966-1949-9C8A-88B4B4982233}"/>
                    </a:ext>
                  </a:extLst>
                </p:cNvPr>
                <p:cNvSpPr/>
                <p:nvPr/>
              </p:nvSpPr>
              <p:spPr>
                <a:xfrm>
                  <a:off x="6826509" y="1029866"/>
                  <a:ext cx="4752528" cy="4281541"/>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851B973C-021C-AAA2-59B4-50763F45E940}"/>
                    </a:ext>
                  </a:extLst>
                </p:cNvPr>
                <p:cNvSpPr txBox="1"/>
                <p:nvPr/>
              </p:nvSpPr>
              <p:spPr>
                <a:xfrm>
                  <a:off x="7233096" y="1389906"/>
                  <a:ext cx="3932808" cy="323165"/>
                </a:xfrm>
                <a:prstGeom prst="rect">
                  <a:avLst/>
                </a:prstGeom>
              </p:spPr>
              <p:txBody>
                <a:bodyPr wrap="none" rtlCol="0">
                  <a:spAutoFit/>
                </a:bodyPr>
                <a:lstStyle/>
                <a:p>
                  <a:pPr marL="0" indent="0" algn="l">
                    <a:lnSpc>
                      <a:spcPts val="1780"/>
                    </a:lnSpc>
                    <a:buNone/>
                  </a:pPr>
                  <a:r>
                    <a:rPr lang="en-US" b="1" kern="100" spc="-20">
                      <a:solidFill>
                        <a:schemeClr val="accent6">
                          <a:lumMod val="75000"/>
                        </a:schemeClr>
                      </a:solidFill>
                    </a:rPr>
                    <a:t>PHONE NUMBER: (555) 555-5555</a:t>
                  </a:r>
                  <a:endParaRPr lang="en-US" b="1" kern="100" spc="-20">
                    <a:solidFill>
                      <a:schemeClr val="accent6">
                        <a:lumMod val="50000"/>
                      </a:schemeClr>
                    </a:solidFill>
                  </a:endParaRPr>
                </a:p>
              </p:txBody>
            </p:sp>
            <p:grpSp>
              <p:nvGrpSpPr>
                <p:cNvPr id="36" name="Group 35">
                  <a:extLst>
                    <a:ext uri="{FF2B5EF4-FFF2-40B4-BE49-F238E27FC236}">
                      <a16:creationId xmlns:a16="http://schemas.microsoft.com/office/drawing/2014/main" id="{2ED3F9B1-588A-0D0B-678E-E796453A7BA8}"/>
                    </a:ext>
                  </a:extLst>
                </p:cNvPr>
                <p:cNvGrpSpPr/>
                <p:nvPr/>
              </p:nvGrpSpPr>
              <p:grpSpPr>
                <a:xfrm>
                  <a:off x="7985563" y="4529088"/>
                  <a:ext cx="2441143" cy="662130"/>
                  <a:chOff x="7738126" y="4546135"/>
                  <a:chExt cx="2441143" cy="662130"/>
                </a:xfrm>
              </p:grpSpPr>
              <p:pic>
                <p:nvPicPr>
                  <p:cNvPr id="37" name="Graphic 36" descr="Arrow circle with solid fill">
                    <a:extLst>
                      <a:ext uri="{FF2B5EF4-FFF2-40B4-BE49-F238E27FC236}">
                        <a16:creationId xmlns:a16="http://schemas.microsoft.com/office/drawing/2014/main" id="{D6EE2768-42A7-6EA2-C470-4FAE269DCF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38126" y="4546135"/>
                    <a:ext cx="662130" cy="662130"/>
                  </a:xfrm>
                  <a:prstGeom prst="rect">
                    <a:avLst/>
                  </a:prstGeom>
                </p:spPr>
              </p:pic>
              <p:sp>
                <p:nvSpPr>
                  <p:cNvPr id="38" name="TextBox 37">
                    <a:extLst>
                      <a:ext uri="{FF2B5EF4-FFF2-40B4-BE49-F238E27FC236}">
                        <a16:creationId xmlns:a16="http://schemas.microsoft.com/office/drawing/2014/main" id="{3D3643A2-7F96-1685-E178-5DF5C0D75BF9}"/>
                      </a:ext>
                    </a:extLst>
                  </p:cNvPr>
                  <p:cNvSpPr txBox="1"/>
                  <p:nvPr/>
                </p:nvSpPr>
                <p:spPr>
                  <a:xfrm>
                    <a:off x="8400256" y="4690061"/>
                    <a:ext cx="1779013" cy="369332"/>
                  </a:xfrm>
                  <a:prstGeom prst="rect">
                    <a:avLst/>
                  </a:prstGeom>
                </p:spPr>
                <p:txBody>
                  <a:bodyPr wrap="none" rtlCol="0">
                    <a:spAutoFit/>
                  </a:bodyPr>
                  <a:lstStyle/>
                  <a:p>
                    <a:pPr marL="0" indent="0" algn="l">
                      <a:buNone/>
                    </a:pPr>
                    <a:r>
                      <a:rPr lang="en-US" kern="100" spc="-20">
                        <a:solidFill>
                          <a:srgbClr val="D9222A"/>
                        </a:solidFill>
                      </a:rPr>
                      <a:t>Fraud Detected</a:t>
                    </a:r>
                  </a:p>
                </p:txBody>
              </p:sp>
            </p:grpSp>
          </p:grpSp>
          <p:sp>
            <p:nvSpPr>
              <p:cNvPr id="32" name="TextBox 31">
                <a:extLst>
                  <a:ext uri="{FF2B5EF4-FFF2-40B4-BE49-F238E27FC236}">
                    <a16:creationId xmlns:a16="http://schemas.microsoft.com/office/drawing/2014/main" id="{2837B12F-670F-15A1-545B-89AE1AE630E0}"/>
                  </a:ext>
                </a:extLst>
              </p:cNvPr>
              <p:cNvSpPr txBox="1"/>
              <p:nvPr/>
            </p:nvSpPr>
            <p:spPr>
              <a:xfrm>
                <a:off x="7445812" y="2588550"/>
                <a:ext cx="1779013" cy="1995162"/>
              </a:xfrm>
              <a:prstGeom prst="rect">
                <a:avLst/>
              </a:prstGeom>
              <a:noFill/>
            </p:spPr>
            <p:txBody>
              <a:bodyPr wrap="square">
                <a:spAutoFit/>
              </a:bodyPr>
              <a:lstStyle/>
              <a:p>
                <a:pPr marL="285750" indent="-285750" algn="l">
                  <a:lnSpc>
                    <a:spcPct val="150000"/>
                  </a:lnSpc>
                  <a:buClr>
                    <a:schemeClr val="tx1"/>
                  </a:buClr>
                  <a:buFont typeface="Arial" panose="020B0604020202020204" pitchFamily="34" charset="0"/>
                  <a:buChar char="•"/>
                </a:pPr>
                <a:r>
                  <a:rPr lang="en-US" sz="1400" kern="100" spc="-20"/>
                  <a:t>First Name</a:t>
                </a:r>
              </a:p>
              <a:p>
                <a:pPr marL="285750" indent="-285750" algn="l">
                  <a:lnSpc>
                    <a:spcPct val="150000"/>
                  </a:lnSpc>
                  <a:buClr>
                    <a:schemeClr val="tx1"/>
                  </a:buClr>
                  <a:buFont typeface="Arial" panose="020B0604020202020204" pitchFamily="34" charset="0"/>
                  <a:buChar char="•"/>
                </a:pPr>
                <a:r>
                  <a:rPr lang="en-US" sz="1400" kern="100" spc="-20"/>
                  <a:t>Last Name</a:t>
                </a:r>
              </a:p>
              <a:p>
                <a:pPr marL="285750" indent="-285750" algn="l">
                  <a:lnSpc>
                    <a:spcPct val="150000"/>
                  </a:lnSpc>
                  <a:buClr>
                    <a:schemeClr val="tx1"/>
                  </a:buClr>
                  <a:buFont typeface="Arial" panose="020B0604020202020204" pitchFamily="34" charset="0"/>
                  <a:buChar char="•"/>
                </a:pPr>
                <a:r>
                  <a:rPr lang="en-US" sz="1400" kern="100" spc="-20"/>
                  <a:t>Login Location </a:t>
                </a:r>
              </a:p>
              <a:p>
                <a:pPr marL="285750" indent="-285750" algn="l">
                  <a:lnSpc>
                    <a:spcPct val="150000"/>
                  </a:lnSpc>
                  <a:buClr>
                    <a:schemeClr val="tx1"/>
                  </a:buClr>
                  <a:buFont typeface="Arial" panose="020B0604020202020204" pitchFamily="34" charset="0"/>
                  <a:buChar char="•"/>
                </a:pPr>
                <a:r>
                  <a:rPr lang="en-US" sz="1400" kern="100" spc="-20"/>
                  <a:t>Address</a:t>
                </a:r>
              </a:p>
              <a:p>
                <a:pPr marL="285750" indent="-285750" algn="l">
                  <a:lnSpc>
                    <a:spcPct val="150000"/>
                  </a:lnSpc>
                  <a:buClr>
                    <a:schemeClr val="tx1"/>
                  </a:buClr>
                  <a:buFont typeface="Arial" panose="020B0604020202020204" pitchFamily="34" charset="0"/>
                  <a:buChar char="•"/>
                </a:pPr>
                <a:r>
                  <a:rPr lang="en-US" sz="1400" kern="100" spc="-20"/>
                  <a:t>City</a:t>
                </a:r>
                <a:endParaRPr lang="en-US" sz="1400" kern="100" spc="-20">
                  <a:solidFill>
                    <a:schemeClr val="accent1"/>
                  </a:solidFill>
                </a:endParaRPr>
              </a:p>
              <a:p>
                <a:pPr marL="285750" indent="-285750" algn="l">
                  <a:lnSpc>
                    <a:spcPct val="150000"/>
                  </a:lnSpc>
                  <a:buClr>
                    <a:schemeClr val="tx1"/>
                  </a:buClr>
                  <a:buFont typeface="Arial" panose="020B0604020202020204" pitchFamily="34" charset="0"/>
                  <a:buChar char="•"/>
                </a:pPr>
                <a:r>
                  <a:rPr lang="en-US" sz="1400" kern="100" spc="-20"/>
                  <a:t>Postal Code</a:t>
                </a:r>
              </a:p>
            </p:txBody>
          </p:sp>
          <p:sp>
            <p:nvSpPr>
              <p:cNvPr id="33" name="TextBox 32">
                <a:extLst>
                  <a:ext uri="{FF2B5EF4-FFF2-40B4-BE49-F238E27FC236}">
                    <a16:creationId xmlns:a16="http://schemas.microsoft.com/office/drawing/2014/main" id="{879F6960-A5AE-9CC1-80CE-078598F4BD18}"/>
                  </a:ext>
                </a:extLst>
              </p:cNvPr>
              <p:cNvSpPr txBox="1"/>
              <p:nvPr/>
            </p:nvSpPr>
            <p:spPr>
              <a:xfrm>
                <a:off x="9396118" y="2585624"/>
                <a:ext cx="1779013" cy="1995162"/>
              </a:xfrm>
              <a:prstGeom prst="rect">
                <a:avLst/>
              </a:prstGeom>
              <a:noFill/>
            </p:spPr>
            <p:txBody>
              <a:bodyPr wrap="square">
                <a:spAutoFit/>
              </a:bodyPr>
              <a:lstStyle/>
              <a:p>
                <a:pPr marL="285750" indent="-285750" algn="l">
                  <a:lnSpc>
                    <a:spcPct val="150000"/>
                  </a:lnSpc>
                  <a:buClr>
                    <a:srgbClr val="00B050"/>
                  </a:buClr>
                  <a:buFont typeface="Wingdings" pitchFamily="2" charset="2"/>
                  <a:buChar char="ü"/>
                </a:pPr>
                <a:r>
                  <a:rPr lang="en-US" sz="1400" kern="100" spc="-20"/>
                  <a:t>First Name</a:t>
                </a:r>
              </a:p>
              <a:p>
                <a:pPr marL="285750" indent="-285750" algn="l">
                  <a:lnSpc>
                    <a:spcPct val="150000"/>
                  </a:lnSpc>
                  <a:buClr>
                    <a:srgbClr val="00B050"/>
                  </a:buClr>
                  <a:buFont typeface="Wingdings" pitchFamily="2" charset="2"/>
                  <a:buChar char="ü"/>
                </a:pPr>
                <a:r>
                  <a:rPr lang="en-US" sz="1400" kern="100" spc="-20"/>
                  <a:t>Last Name</a:t>
                </a:r>
              </a:p>
              <a:p>
                <a:pPr marL="285750" indent="-285750">
                  <a:lnSpc>
                    <a:spcPct val="150000"/>
                  </a:lnSpc>
                  <a:buClr>
                    <a:srgbClr val="D9222A"/>
                  </a:buClr>
                  <a:buFont typeface="System Font Regular"/>
                  <a:buChar char="X"/>
                </a:pPr>
                <a:r>
                  <a:rPr lang="en-US" sz="1400" kern="100" spc="-20"/>
                  <a:t>Device Location</a:t>
                </a:r>
              </a:p>
              <a:p>
                <a:pPr marL="285750" indent="-285750">
                  <a:lnSpc>
                    <a:spcPct val="150000"/>
                  </a:lnSpc>
                  <a:buClr>
                    <a:srgbClr val="D9222A"/>
                  </a:buClr>
                  <a:buFont typeface="System Font Regular"/>
                  <a:buChar char="X"/>
                </a:pPr>
                <a:r>
                  <a:rPr lang="en-US" sz="1400" kern="100" spc="-20"/>
                  <a:t>Address</a:t>
                </a:r>
              </a:p>
              <a:p>
                <a:pPr marL="285750" indent="-285750">
                  <a:lnSpc>
                    <a:spcPct val="150000"/>
                  </a:lnSpc>
                  <a:buClr>
                    <a:srgbClr val="00B050"/>
                  </a:buClr>
                  <a:buFont typeface="Wingdings" pitchFamily="2" charset="2"/>
                  <a:buChar char="ü"/>
                </a:pPr>
                <a:r>
                  <a:rPr lang="en-US" sz="1400" kern="100" spc="-20"/>
                  <a:t>City</a:t>
                </a:r>
              </a:p>
              <a:p>
                <a:pPr marL="285750" indent="-285750" algn="l">
                  <a:lnSpc>
                    <a:spcPct val="150000"/>
                  </a:lnSpc>
                  <a:buClr>
                    <a:schemeClr val="accent1"/>
                  </a:buClr>
                  <a:buFont typeface="System Font Regular"/>
                  <a:buChar char="X"/>
                </a:pPr>
                <a:r>
                  <a:rPr lang="en-US" sz="1400" kern="100" spc="-20"/>
                  <a:t>Postal Code</a:t>
                </a:r>
              </a:p>
            </p:txBody>
          </p:sp>
        </p:grpSp>
        <p:sp>
          <p:nvSpPr>
            <p:cNvPr id="29" name="TextBox 28">
              <a:extLst>
                <a:ext uri="{FF2B5EF4-FFF2-40B4-BE49-F238E27FC236}">
                  <a16:creationId xmlns:a16="http://schemas.microsoft.com/office/drawing/2014/main" id="{A7CB5900-7840-4024-8F88-F61725F7447A}"/>
                </a:ext>
              </a:extLst>
            </p:cNvPr>
            <p:cNvSpPr txBox="1"/>
            <p:nvPr/>
          </p:nvSpPr>
          <p:spPr>
            <a:xfrm>
              <a:off x="7570365" y="1880256"/>
              <a:ext cx="1529906" cy="310085"/>
            </a:xfrm>
            <a:prstGeom prst="rect">
              <a:avLst/>
            </a:prstGeom>
          </p:spPr>
          <p:txBody>
            <a:bodyPr wrap="none" rtlCol="0">
              <a:spAutoFit/>
            </a:bodyPr>
            <a:lstStyle/>
            <a:p>
              <a:pPr marL="0" indent="0" algn="l">
                <a:lnSpc>
                  <a:spcPts val="1780"/>
                </a:lnSpc>
                <a:buNone/>
              </a:pPr>
              <a:r>
                <a:rPr lang="en-US" sz="1400" kern="100" spc="-20"/>
                <a:t>INFO PROVIDED</a:t>
              </a:r>
            </a:p>
          </p:txBody>
        </p:sp>
        <p:sp>
          <p:nvSpPr>
            <p:cNvPr id="30" name="TextBox 29">
              <a:extLst>
                <a:ext uri="{FF2B5EF4-FFF2-40B4-BE49-F238E27FC236}">
                  <a16:creationId xmlns:a16="http://schemas.microsoft.com/office/drawing/2014/main" id="{56172E11-23AB-1BD0-392B-D0F80F8FA5E2}"/>
                </a:ext>
              </a:extLst>
            </p:cNvPr>
            <p:cNvSpPr txBox="1"/>
            <p:nvPr/>
          </p:nvSpPr>
          <p:spPr>
            <a:xfrm>
              <a:off x="9551444" y="1880256"/>
              <a:ext cx="1368003" cy="310085"/>
            </a:xfrm>
            <a:prstGeom prst="rect">
              <a:avLst/>
            </a:prstGeom>
          </p:spPr>
          <p:txBody>
            <a:bodyPr wrap="none" rtlCol="0">
              <a:spAutoFit/>
            </a:bodyPr>
            <a:lstStyle/>
            <a:p>
              <a:pPr marL="0" indent="0" algn="ctr">
                <a:lnSpc>
                  <a:spcPts val="1780"/>
                </a:lnSpc>
                <a:buNone/>
              </a:pPr>
              <a:r>
                <a:rPr lang="en-US" sz="1400" kern="100" spc="-20"/>
                <a:t>INFO VERIFIED</a:t>
              </a:r>
            </a:p>
          </p:txBody>
        </p:sp>
      </p:grpSp>
      <p:sp>
        <p:nvSpPr>
          <p:cNvPr id="39" name="TextBox 38">
            <a:extLst>
              <a:ext uri="{FF2B5EF4-FFF2-40B4-BE49-F238E27FC236}">
                <a16:creationId xmlns:a16="http://schemas.microsoft.com/office/drawing/2014/main" id="{3728DBC0-2480-577D-61AA-0F9616CD9D24}"/>
              </a:ext>
            </a:extLst>
          </p:cNvPr>
          <p:cNvSpPr txBox="1"/>
          <p:nvPr/>
        </p:nvSpPr>
        <p:spPr>
          <a:xfrm>
            <a:off x="2377676" y="5714527"/>
            <a:ext cx="7475123" cy="323165"/>
          </a:xfrm>
          <a:prstGeom prst="rect">
            <a:avLst/>
          </a:prstGeom>
          <a:solidFill>
            <a:srgbClr val="D9222A"/>
          </a:solidFill>
        </p:spPr>
        <p:txBody>
          <a:bodyPr wrap="none" rtlCol="0">
            <a:spAutoFit/>
          </a:bodyPr>
          <a:lstStyle/>
          <a:p>
            <a:pPr marL="0" indent="0" algn="l">
              <a:lnSpc>
                <a:spcPts val="1780"/>
              </a:lnSpc>
              <a:buNone/>
            </a:pPr>
            <a:r>
              <a:rPr lang="en-CA" b="1" i="0" u="none" strike="noStrike">
                <a:solidFill>
                  <a:schemeClr val="bg1"/>
                </a:solidFill>
                <a:effectLst/>
                <a:latin typeface="Ted Next" panose="02000507000000000004" pitchFamily="2" charset="77"/>
              </a:rPr>
              <a:t>PHASE 1 FOCUS: Fraud Prevention and Digital Identity Use Cases</a:t>
            </a:r>
            <a:endParaRPr lang="en-US" b="1" kern="100" spc="-20">
              <a:solidFill>
                <a:schemeClr val="bg1"/>
              </a:solidFill>
              <a:latin typeface="Ted Next" panose="02000507000000000004" pitchFamily="2" charset="77"/>
            </a:endParaRPr>
          </a:p>
        </p:txBody>
      </p:sp>
    </p:spTree>
    <p:extLst>
      <p:ext uri="{BB962C8B-B14F-4D97-AF65-F5344CB8AC3E}">
        <p14:creationId xmlns:p14="http://schemas.microsoft.com/office/powerpoint/2010/main" val="2844126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B2AC1E-2862-C314-E4F6-3E56DE4B76C4}"/>
              </a:ext>
            </a:extLst>
          </p:cNvPr>
          <p:cNvSpPr>
            <a:spLocks noGrp="1"/>
          </p:cNvSpPr>
          <p:nvPr>
            <p:ph type="body" sz="quarter" idx="18"/>
          </p:nvPr>
        </p:nvSpPr>
        <p:spPr>
          <a:xfrm>
            <a:off x="609601" y="712928"/>
            <a:ext cx="10997933" cy="4780398"/>
          </a:xfrm>
        </p:spPr>
        <p:txBody>
          <a:bodyPr>
            <a:noAutofit/>
          </a:bodyPr>
          <a:lstStyle/>
          <a:p>
            <a:pPr>
              <a:lnSpc>
                <a:spcPct val="107000"/>
              </a:lnSpc>
              <a:spcBef>
                <a:spcPts val="200"/>
              </a:spcBef>
            </a:pPr>
            <a:r>
              <a:rPr lang="en-CA" sz="1400" b="1" i="1"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Use Case 1a: Location Verification Sharing with APC GSMA </a:t>
            </a:r>
            <a:r>
              <a:rPr lang="en-CA" sz="1400" b="1" i="1" dirty="0" err="1">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Opengateway</a:t>
            </a:r>
            <a:r>
              <a:rPr lang="en-CA" sz="1400" b="1" i="1"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 Outh2 OIDC CIBA Flows</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Consent Request Initiation</a:t>
            </a:r>
            <a:r>
              <a:rPr lang="en-CA" sz="1400" dirty="0">
                <a:effectLst/>
                <a:latin typeface="Calibri" panose="020F0502020204030204" pitchFamily="34" charset="0"/>
                <a:ea typeface="Calibri" panose="020F0502020204030204" pitchFamily="34" charset="0"/>
                <a:cs typeface="Arial" panose="020B0604020202020204" pitchFamily="34" charset="0"/>
              </a:rPr>
              <a:t>: CA Auto Insurance decides to request real-time location data from Maria to offer a personalized insurance quote. CA sends a custom SMS to Maria, containing a secure link to initiate the consent process. This message explains the “Purpose”, “Period”, and “Scope” of the location data sharing, in line with Rogers’ and Microsoft Azure APC’s privacy policies.</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CIBA Authentication Initiation</a:t>
            </a:r>
            <a:r>
              <a:rPr lang="en-CA" sz="1400" dirty="0">
                <a:effectLst/>
                <a:latin typeface="Calibri" panose="020F0502020204030204" pitchFamily="34" charset="0"/>
                <a:ea typeface="Calibri" panose="020F0502020204030204" pitchFamily="34" charset="0"/>
                <a:cs typeface="Arial" panose="020B0604020202020204" pitchFamily="34" charset="0"/>
              </a:rPr>
              <a:t>: Upon Maria clicking the link, instead of being directed to a login page, a CIBA flow is initiated. Rogers, acting as the IDP, receives a backchannel authentication request from CA. Rogers verifies if the request is legitimate and if Maria has previously granted consent for such requests.</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Authentication and Consent Notification</a:t>
            </a:r>
            <a:r>
              <a:rPr lang="en-CA" sz="1400" dirty="0">
                <a:effectLst/>
                <a:latin typeface="Calibri" panose="020F0502020204030204" pitchFamily="34" charset="0"/>
                <a:ea typeface="Calibri" panose="020F0502020204030204" pitchFamily="34" charset="0"/>
                <a:cs typeface="Arial" panose="020B0604020202020204" pitchFamily="34" charset="0"/>
              </a:rPr>
              <a:t>: Rogers sends a notification to Maria’s registered device, asking her to authenticate and approve the data-sharing request. Maria authenticates using her preferred method (e.g., biometrics, one-time password) via the Rogers app or website, which ensures her identity is confirmed securely without redirecting her to a login page.</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Informed Consent and Approval</a:t>
            </a:r>
            <a:r>
              <a:rPr lang="en-CA" sz="1400" dirty="0">
                <a:effectLst/>
                <a:latin typeface="Calibri" panose="020F0502020204030204" pitchFamily="34" charset="0"/>
                <a:ea typeface="Calibri" panose="020F0502020204030204" pitchFamily="34" charset="0"/>
                <a:cs typeface="Arial" panose="020B0604020202020204" pitchFamily="34" charset="0"/>
              </a:rPr>
              <a:t>: Post-authentication, Maria is presented with detailed consent information within the Rogers app or notification interface. This step reaffirms the “Purpose”, “Period”, and “Scope” of sharing her location data. Maria reviews and grants consent through this interface, streamlining the process.</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Token Issuance and Data Sharing</a:t>
            </a:r>
            <a:r>
              <a:rPr lang="en-CA" sz="1400" dirty="0">
                <a:effectLst/>
                <a:latin typeface="Calibri" panose="020F0502020204030204" pitchFamily="34" charset="0"/>
                <a:ea typeface="Calibri" panose="020F0502020204030204" pitchFamily="34" charset="0"/>
                <a:cs typeface="Arial" panose="020B0604020202020204" pitchFamily="34" charset="0"/>
              </a:rPr>
              <a:t>: Once Maria consents, Rogers notifies CA through the backchannel that consent has been granted. Rogers issues a token to CA, enabling them to access Maria’s real-time location data through the Rogers CAMARA Location API. This ensures that CA receives the necessary data to provide a personalized insurance quote to Maria.</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Security and Verification</a:t>
            </a:r>
            <a:r>
              <a:rPr lang="en-CA" sz="1400" dirty="0">
                <a:effectLst/>
                <a:latin typeface="Calibri" panose="020F0502020204030204" pitchFamily="34" charset="0"/>
                <a:ea typeface="Calibri" panose="020F0502020204030204" pitchFamily="34" charset="0"/>
                <a:cs typeface="Arial" panose="020B0604020202020204" pitchFamily="34" charset="0"/>
              </a:rPr>
              <a:t>: Rogers continues to use robust verification protocols to confirm the authenticity of the location data and the security of Maria’s account. This step is crucial for maintaining trust and ensuring that the data shared is accurate and secure.</a:t>
            </a:r>
          </a:p>
          <a:p>
            <a:pPr marL="342900" lvl="0" indent="-3429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Consent Revocation and Lifecycle Management</a:t>
            </a:r>
            <a:r>
              <a:rPr lang="en-CA" sz="1400" dirty="0">
                <a:effectLst/>
                <a:latin typeface="Calibri" panose="020F0502020204030204" pitchFamily="34" charset="0"/>
                <a:ea typeface="Calibri" panose="020F0502020204030204" pitchFamily="34" charset="0"/>
                <a:cs typeface="Arial" panose="020B0604020202020204" pitchFamily="34" charset="0"/>
              </a:rPr>
              <a:t>: After the agreed-upon period ends or at any time Maria decides to revoke her consent, Rogers facilitates this process, ensuring that CA no longer has access to her location data. Rogers manages the consent lifecycle, adhering to privacy standards and regulations, and records all transactions for audit and compliance purposes.</a:t>
            </a:r>
          </a:p>
          <a:p>
            <a:endParaRPr lang="en-CA" dirty="0"/>
          </a:p>
        </p:txBody>
      </p:sp>
      <p:sp>
        <p:nvSpPr>
          <p:cNvPr id="4" name="Title 3">
            <a:extLst>
              <a:ext uri="{FF2B5EF4-FFF2-40B4-BE49-F238E27FC236}">
                <a16:creationId xmlns:a16="http://schemas.microsoft.com/office/drawing/2014/main" id="{1E6E212F-797D-FC2F-0E88-AFE29D48445D}"/>
              </a:ext>
            </a:extLst>
          </p:cNvPr>
          <p:cNvSpPr>
            <a:spLocks noGrp="1"/>
          </p:cNvSpPr>
          <p:nvPr>
            <p:ph type="title"/>
          </p:nvPr>
        </p:nvSpPr>
        <p:spPr/>
        <p:txBody>
          <a:bodyPr/>
          <a:lstStyle/>
          <a:p>
            <a:r>
              <a:rPr lang="en-CA" dirty="0" err="1"/>
              <a:t>Usecases</a:t>
            </a:r>
            <a:endParaRPr lang="en-CA" dirty="0"/>
          </a:p>
        </p:txBody>
      </p:sp>
    </p:spTree>
    <p:extLst>
      <p:ext uri="{BB962C8B-B14F-4D97-AF65-F5344CB8AC3E}">
        <p14:creationId xmlns:p14="http://schemas.microsoft.com/office/powerpoint/2010/main" val="3943081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E84E2-2716-2FC0-65EE-84A9E2E261D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D58824B-71C1-BF92-85F8-713CD1822775}"/>
              </a:ext>
            </a:extLst>
          </p:cNvPr>
          <p:cNvSpPr>
            <a:spLocks noGrp="1"/>
          </p:cNvSpPr>
          <p:nvPr>
            <p:ph type="body" sz="quarter" idx="17"/>
          </p:nvPr>
        </p:nvSpPr>
        <p:spPr>
          <a:xfrm>
            <a:off x="568013" y="875655"/>
            <a:ext cx="11179702" cy="4354195"/>
          </a:xfrm>
        </p:spPr>
        <p:txBody>
          <a:bodyPr>
            <a:noAutofit/>
          </a:bodyPr>
          <a:lstStyle/>
          <a:p>
            <a:pPr>
              <a:lnSpc>
                <a:spcPct val="107000"/>
              </a:lnSpc>
              <a:spcBef>
                <a:spcPts val="200"/>
              </a:spcBef>
            </a:pPr>
            <a:r>
              <a:rPr lang="en-CA" sz="1400" b="1" i="1"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Use Case 2: SIMSWAP for Fraud Prevention with APC GSMA </a:t>
            </a:r>
            <a:r>
              <a:rPr lang="en-CA" sz="1400" b="1" i="1" dirty="0" err="1">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Opengateway</a:t>
            </a:r>
            <a:r>
              <a:rPr lang="en-CA" sz="1400" b="1" i="1"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 Outh2 OIDC CIBA Flows</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Consent Request Initiation</a:t>
            </a:r>
            <a:r>
              <a:rPr lang="en-CA" sz="1400" dirty="0">
                <a:effectLst/>
                <a:latin typeface="Calibri" panose="020F0502020204030204" pitchFamily="34" charset="0"/>
                <a:ea typeface="Calibri" panose="020F0502020204030204" pitchFamily="34" charset="0"/>
                <a:cs typeface="Arial" panose="020B0604020202020204" pitchFamily="34" charset="0"/>
              </a:rPr>
              <a:t>: When Eleni applies for a new credit card using her banking app, the Royal Bank of Canada (RBC) decides to verify the legitimacy of her SIM card to prevent fraud. RBC sends Eleni a custom SMS, containing a secure link to initiate the consent process for SIMSWAP data sharing. The SMS explains the “Purpose”, “Period”, and “Scope” of the SIMSWAP data sharing, in line with the privacy policies of Rogers and Microsoft Azure APC.</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CIBA Authentication Initiation</a:t>
            </a:r>
            <a:r>
              <a:rPr lang="en-CA" sz="1400" dirty="0">
                <a:effectLst/>
                <a:latin typeface="Calibri" panose="020F0502020204030204" pitchFamily="34" charset="0"/>
                <a:ea typeface="Calibri" panose="020F0502020204030204" pitchFamily="34" charset="0"/>
                <a:cs typeface="Arial" panose="020B0604020202020204" pitchFamily="34" charset="0"/>
              </a:rPr>
              <a:t>: Instead of directing Eleni to a traditional login page after she clicks the link, a CIBA authentication flow is initiated. Rogers, acting as the Identity Provider (IDP), receives a backchannel authentication request from RBC. Rogers verifies if the request is valid and checks if Eleni has pre-authorized such requests.</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Authentication and Consent Notification</a:t>
            </a:r>
            <a:r>
              <a:rPr lang="en-CA" sz="1400" dirty="0">
                <a:effectLst/>
                <a:latin typeface="Calibri" panose="020F0502020204030204" pitchFamily="34" charset="0"/>
                <a:ea typeface="Calibri" panose="020F0502020204030204" pitchFamily="34" charset="0"/>
                <a:cs typeface="Arial" panose="020B0604020202020204" pitchFamily="34" charset="0"/>
              </a:rPr>
              <a:t>: Rogers sends a notification to Eleni’s registered device, prompting her to authenticate and approve the SIMSWAP data-sharing request. Eleni authenticates via the Rogers app or website using her preferred method (e.g., biometrics, one-time password), ensuring a secure and seamless user experience without needing to manually log in.</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Informed Consent and Approval</a:t>
            </a:r>
            <a:r>
              <a:rPr lang="en-CA" sz="1400" dirty="0">
                <a:effectLst/>
                <a:latin typeface="Calibri" panose="020F0502020204030204" pitchFamily="34" charset="0"/>
                <a:ea typeface="Calibri" panose="020F0502020204030204" pitchFamily="34" charset="0"/>
                <a:cs typeface="Arial" panose="020B0604020202020204" pitchFamily="34" charset="0"/>
              </a:rPr>
              <a:t>: After successful authentication, Eleni is presented with the consent information directly within the Rogers app or through a secure notification. This interface clearly outlines the “Purpose”, “Period”, and “Scope” of sharing her SIMSWAP data with RBC. Eleni reviews the information and grants her consent within this secure environment.</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Token Issuance and Data Sharing</a:t>
            </a:r>
            <a:r>
              <a:rPr lang="en-CA" sz="1400" dirty="0">
                <a:effectLst/>
                <a:latin typeface="Calibri" panose="020F0502020204030204" pitchFamily="34" charset="0"/>
                <a:ea typeface="Calibri" panose="020F0502020204030204" pitchFamily="34" charset="0"/>
                <a:cs typeface="Arial" panose="020B0604020202020204" pitchFamily="34" charset="0"/>
              </a:rPr>
              <a:t>: Once Eleni has consented, Rogers informs RBC through the backchannel that the consent has been granted. Rogers then issues a token to RBC, enabling them to access Eleni’s SIMSWAP data through the Rogers CAMARA SIMSWAP API. This process ensures that RBC can securely verify the SIMSWAP event as part of Eleni’s credit card application, enhancing security and fraud prevention measures.</a:t>
            </a:r>
          </a:p>
          <a:p>
            <a:pPr marL="228600" lvl="0" indent="-228600">
              <a:lnSpc>
                <a:spcPct val="107000"/>
              </a:lnSpc>
              <a:spcAft>
                <a:spcPts val="800"/>
              </a:spcAft>
              <a:buFont typeface="+mj-lt"/>
              <a:buAutoNum type="arabicPeriod"/>
            </a:pPr>
            <a:r>
              <a:rPr lang="en-CA" sz="1400" b="1" dirty="0">
                <a:effectLst/>
                <a:latin typeface="Calibri" panose="020F0502020204030204" pitchFamily="34" charset="0"/>
                <a:ea typeface="Calibri" panose="020F0502020204030204" pitchFamily="34" charset="0"/>
                <a:cs typeface="Arial" panose="020B0604020202020204" pitchFamily="34" charset="0"/>
              </a:rPr>
              <a:t>Security and Verification</a:t>
            </a:r>
            <a:r>
              <a:rPr lang="en-CA" sz="1400" dirty="0">
                <a:effectLst/>
                <a:latin typeface="Calibri" panose="020F0502020204030204" pitchFamily="34" charset="0"/>
                <a:ea typeface="Calibri" panose="020F0502020204030204" pitchFamily="34" charset="0"/>
                <a:cs typeface="Arial" panose="020B0604020202020204" pitchFamily="34" charset="0"/>
              </a:rPr>
              <a:t>: Throughout this process, Rogers employs stringent security measures to verify the authenticity of the SIMSWAP data and the integrity of Eleni’s account. This step is crucial for maintaining the security of the transaction and ensuring that the data shared is accurate and protected against unauthorized access.</a:t>
            </a:r>
          </a:p>
        </p:txBody>
      </p:sp>
      <p:sp>
        <p:nvSpPr>
          <p:cNvPr id="4" name="Title 3">
            <a:extLst>
              <a:ext uri="{FF2B5EF4-FFF2-40B4-BE49-F238E27FC236}">
                <a16:creationId xmlns:a16="http://schemas.microsoft.com/office/drawing/2014/main" id="{157E29E4-6B77-D2A8-89CA-1F4A55B32E61}"/>
              </a:ext>
            </a:extLst>
          </p:cNvPr>
          <p:cNvSpPr>
            <a:spLocks noGrp="1"/>
          </p:cNvSpPr>
          <p:nvPr>
            <p:ph type="title"/>
          </p:nvPr>
        </p:nvSpPr>
        <p:spPr/>
        <p:txBody>
          <a:bodyPr/>
          <a:lstStyle/>
          <a:p>
            <a:r>
              <a:rPr lang="en-CA" dirty="0" err="1"/>
              <a:t>Usecases</a:t>
            </a:r>
            <a:endParaRPr lang="en-CA" dirty="0"/>
          </a:p>
        </p:txBody>
      </p:sp>
    </p:spTree>
    <p:extLst>
      <p:ext uri="{BB962C8B-B14F-4D97-AF65-F5344CB8AC3E}">
        <p14:creationId xmlns:p14="http://schemas.microsoft.com/office/powerpoint/2010/main" val="18691278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B2AC1E-2862-C314-E4F6-3E56DE4B76C4}"/>
              </a:ext>
            </a:extLst>
          </p:cNvPr>
          <p:cNvSpPr>
            <a:spLocks noGrp="1"/>
          </p:cNvSpPr>
          <p:nvPr>
            <p:ph type="body" sz="quarter" idx="18"/>
          </p:nvPr>
        </p:nvSpPr>
        <p:spPr>
          <a:xfrm>
            <a:off x="609601" y="991892"/>
            <a:ext cx="10997933" cy="4733903"/>
          </a:xfrm>
        </p:spPr>
        <p:txBody>
          <a:bodyPr>
            <a:normAutofit fontScale="25000" lnSpcReduction="20000"/>
          </a:bodyPr>
          <a:lstStyle/>
          <a:p>
            <a:pPr>
              <a:lnSpc>
                <a:spcPct val="107000"/>
              </a:lnSpc>
              <a:spcBef>
                <a:spcPts val="200"/>
              </a:spcBef>
            </a:pPr>
            <a:r>
              <a:rPr lang="en-CA" sz="6400" b="1" i="1"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rPr>
              <a:t>Use Case 3: Number Verification for Silent Login (using Authorization Code Flow)</a:t>
            </a:r>
          </a:p>
          <a:p>
            <a:pPr>
              <a:lnSpc>
                <a:spcPct val="107000"/>
              </a:lnSpc>
              <a:spcAft>
                <a:spcPts val="800"/>
              </a:spcAft>
            </a:pPr>
            <a:r>
              <a:rPr lang="en-CA" sz="6400" dirty="0">
                <a:effectLst/>
                <a:latin typeface="Calibri" panose="020F0502020204030204" pitchFamily="34" charset="0"/>
                <a:ea typeface="Calibri" panose="020F0502020204030204" pitchFamily="34" charset="0"/>
                <a:cs typeface="Arial" panose="020B0604020202020204" pitchFamily="34" charset="0"/>
              </a:rPr>
              <a:t>John, a Rogers subscriber, is using his mobile to apply to rent a home. The landlord has integrated Rogers CAMARA Number Verify API through Microsoft Azure Programmable Connectivity (APC) to offer secure and seamless rental application services. Committed to transparency and customer privacy, the landlord initiates a consent request to John, outlining the “Purpose”, “Period”, and “Scope” of the number verification data sharing under the stringent Terms of Service and Privacy Policy upheld by Rogers and Microsoft Azure APC. This allows John to silently log in to the landlord’s website without having to remember a password.</a:t>
            </a:r>
          </a:p>
          <a:p>
            <a:pPr marL="342900" lvl="0" indent="-342900">
              <a:lnSpc>
                <a:spcPct val="107000"/>
              </a:lnSpc>
              <a:spcAft>
                <a:spcPts val="800"/>
              </a:spcAft>
              <a:buFont typeface="+mj-lt"/>
              <a:buAutoNum type="arabicPeriod"/>
            </a:pPr>
            <a:r>
              <a:rPr lang="en-CA" sz="6400" b="1" dirty="0">
                <a:effectLst/>
                <a:latin typeface="Calibri" panose="020F0502020204030204" pitchFamily="34" charset="0"/>
                <a:ea typeface="Calibri" panose="020F0502020204030204" pitchFamily="34" charset="0"/>
                <a:cs typeface="Arial" panose="020B0604020202020204" pitchFamily="34" charset="0"/>
              </a:rPr>
              <a:t>Consent Request Initiation</a:t>
            </a:r>
            <a:r>
              <a:rPr lang="en-CA" sz="6400" dirty="0">
                <a:effectLst/>
                <a:latin typeface="Calibri" panose="020F0502020204030204" pitchFamily="34" charset="0"/>
                <a:ea typeface="Calibri" panose="020F0502020204030204" pitchFamily="34" charset="0"/>
                <a:cs typeface="Arial" panose="020B0604020202020204" pitchFamily="34" charset="0"/>
              </a:rPr>
              <a:t>: John receives a custom SMS from the landlord, containing a secure link to opt-in for number verification data sharing. This step initiates the transparent data-sharing process.</a:t>
            </a:r>
          </a:p>
          <a:p>
            <a:pPr marL="342900" lvl="0" indent="-342900">
              <a:lnSpc>
                <a:spcPct val="107000"/>
              </a:lnSpc>
              <a:spcAft>
                <a:spcPts val="800"/>
              </a:spcAft>
              <a:buFont typeface="+mj-lt"/>
              <a:buAutoNum type="arabicPeriod"/>
            </a:pPr>
            <a:r>
              <a:rPr lang="en-CA" sz="6400" b="1" dirty="0">
                <a:effectLst/>
                <a:latin typeface="Calibri" panose="020F0502020204030204" pitchFamily="34" charset="0"/>
                <a:ea typeface="Calibri" panose="020F0502020204030204" pitchFamily="34" charset="0"/>
                <a:cs typeface="Arial" panose="020B0604020202020204" pitchFamily="34" charset="0"/>
              </a:rPr>
              <a:t>Authentication and Consent</a:t>
            </a:r>
            <a:r>
              <a:rPr lang="en-CA" sz="6400" dirty="0">
                <a:effectLst/>
                <a:latin typeface="Calibri" panose="020F0502020204030204" pitchFamily="34" charset="0"/>
                <a:ea typeface="Calibri" panose="020F0502020204030204" pitchFamily="34" charset="0"/>
                <a:cs typeface="Arial" panose="020B0604020202020204" pitchFamily="34" charset="0"/>
              </a:rPr>
              <a:t>: Clicking the link, John is directed to a secure Rogers authentication page. He logs in using his Rogers.com credentials, affirming his identity and ensuring a secure transition to the consent phase.</a:t>
            </a:r>
          </a:p>
          <a:p>
            <a:pPr marL="342900" lvl="0" indent="-342900">
              <a:lnSpc>
                <a:spcPct val="107000"/>
              </a:lnSpc>
              <a:spcAft>
                <a:spcPts val="800"/>
              </a:spcAft>
              <a:buFont typeface="+mj-lt"/>
              <a:buAutoNum type="arabicPeriod"/>
            </a:pPr>
            <a:r>
              <a:rPr lang="en-CA" sz="6400" b="1" dirty="0">
                <a:effectLst/>
                <a:latin typeface="Calibri" panose="020F0502020204030204" pitchFamily="34" charset="0"/>
                <a:ea typeface="Calibri" panose="020F0502020204030204" pitchFamily="34" charset="0"/>
                <a:cs typeface="Arial" panose="020B0604020202020204" pitchFamily="34" charset="0"/>
              </a:rPr>
              <a:t>Informed Consent</a:t>
            </a:r>
            <a:r>
              <a:rPr lang="en-CA" sz="6400" dirty="0">
                <a:effectLst/>
                <a:latin typeface="Calibri" panose="020F0502020204030204" pitchFamily="34" charset="0"/>
                <a:ea typeface="Calibri" panose="020F0502020204030204" pitchFamily="34" charset="0"/>
                <a:cs typeface="Arial" panose="020B0604020202020204" pitchFamily="34" charset="0"/>
              </a:rPr>
              <a:t>: On the Consent page, John is presented with detailed information regarding the “Purpose”, “Period”, and “Scope” of sharing his number verification data. Rogers and the landlord ensure John has all the information needed to make an informed decision.</a:t>
            </a:r>
          </a:p>
          <a:p>
            <a:pPr marL="342900" lvl="0" indent="-342900">
              <a:lnSpc>
                <a:spcPct val="107000"/>
              </a:lnSpc>
              <a:spcAft>
                <a:spcPts val="800"/>
              </a:spcAft>
              <a:buFont typeface="+mj-lt"/>
              <a:buAutoNum type="arabicPeriod"/>
            </a:pPr>
            <a:r>
              <a:rPr lang="en-CA" sz="6400" b="1" dirty="0">
                <a:effectLst/>
                <a:latin typeface="Calibri" panose="020F0502020204030204" pitchFamily="34" charset="0"/>
                <a:ea typeface="Calibri" panose="020F0502020204030204" pitchFamily="34" charset="0"/>
                <a:cs typeface="Arial" panose="020B0604020202020204" pitchFamily="34" charset="0"/>
              </a:rPr>
              <a:t>Agreement and Data Sharing</a:t>
            </a:r>
            <a:r>
              <a:rPr lang="en-CA" sz="6400" dirty="0">
                <a:effectLst/>
                <a:latin typeface="Calibri" panose="020F0502020204030204" pitchFamily="34" charset="0"/>
                <a:ea typeface="Calibri" panose="020F0502020204030204" pitchFamily="34" charset="0"/>
                <a:cs typeface="Arial" panose="020B0604020202020204" pitchFamily="34" charset="0"/>
              </a:rPr>
              <a:t>: Upon clicking “I Agree”, John explicitly consents to share his number verification data with the landlord. Rogers promptly notifies the landlord, enabling access to John’s number verification data through the Number Verify API. This crucial step ensures the landlord can provide a secure rental application process, reflecting John’s specific needs and circumstances.</a:t>
            </a:r>
          </a:p>
          <a:p>
            <a:endParaRPr lang="en-CA" dirty="0"/>
          </a:p>
        </p:txBody>
      </p:sp>
      <p:sp>
        <p:nvSpPr>
          <p:cNvPr id="4" name="Title 3">
            <a:extLst>
              <a:ext uri="{FF2B5EF4-FFF2-40B4-BE49-F238E27FC236}">
                <a16:creationId xmlns:a16="http://schemas.microsoft.com/office/drawing/2014/main" id="{1E6E212F-797D-FC2F-0E88-AFE29D48445D}"/>
              </a:ext>
            </a:extLst>
          </p:cNvPr>
          <p:cNvSpPr>
            <a:spLocks noGrp="1"/>
          </p:cNvSpPr>
          <p:nvPr>
            <p:ph type="title"/>
          </p:nvPr>
        </p:nvSpPr>
        <p:spPr/>
        <p:txBody>
          <a:bodyPr/>
          <a:lstStyle/>
          <a:p>
            <a:r>
              <a:rPr lang="en-CA" dirty="0" err="1"/>
              <a:t>Usecases</a:t>
            </a:r>
            <a:endParaRPr lang="en-CA" dirty="0"/>
          </a:p>
        </p:txBody>
      </p:sp>
    </p:spTree>
    <p:extLst>
      <p:ext uri="{BB962C8B-B14F-4D97-AF65-F5344CB8AC3E}">
        <p14:creationId xmlns:p14="http://schemas.microsoft.com/office/powerpoint/2010/main" val="44559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CD77B8-FE40-B6B3-1CD5-407C8A16A3A0}"/>
              </a:ext>
            </a:extLst>
          </p:cNvPr>
          <p:cNvSpPr>
            <a:spLocks noGrp="1"/>
          </p:cNvSpPr>
          <p:nvPr>
            <p:ph type="body" sz="quarter" idx="17"/>
          </p:nvPr>
        </p:nvSpPr>
        <p:spPr/>
        <p:txBody>
          <a:bodyPr/>
          <a:lstStyle/>
          <a:p>
            <a:endParaRPr lang="en-US"/>
          </a:p>
        </p:txBody>
      </p:sp>
      <p:sp>
        <p:nvSpPr>
          <p:cNvPr id="3" name="Text Placeholder 2">
            <a:extLst>
              <a:ext uri="{FF2B5EF4-FFF2-40B4-BE49-F238E27FC236}">
                <a16:creationId xmlns:a16="http://schemas.microsoft.com/office/drawing/2014/main" id="{43DF9CD2-CF8C-5CDE-002C-7D38F76A9562}"/>
              </a:ext>
            </a:extLst>
          </p:cNvPr>
          <p:cNvSpPr>
            <a:spLocks noGrp="1"/>
          </p:cNvSpPr>
          <p:nvPr>
            <p:ph type="body" sz="quarter" idx="18"/>
          </p:nvPr>
        </p:nvSpPr>
        <p:spPr/>
        <p:txBody>
          <a:bodyPr/>
          <a:lstStyle/>
          <a:p>
            <a:endParaRPr lang="en-US"/>
          </a:p>
        </p:txBody>
      </p:sp>
      <p:sp>
        <p:nvSpPr>
          <p:cNvPr id="4" name="Title 3">
            <a:extLst>
              <a:ext uri="{FF2B5EF4-FFF2-40B4-BE49-F238E27FC236}">
                <a16:creationId xmlns:a16="http://schemas.microsoft.com/office/drawing/2014/main" id="{4D983989-92AE-99A0-211E-A5DA46FBF16B}"/>
              </a:ext>
            </a:extLst>
          </p:cNvPr>
          <p:cNvSpPr>
            <a:spLocks noGrp="1"/>
          </p:cNvSpPr>
          <p:nvPr>
            <p:ph type="title"/>
          </p:nvPr>
        </p:nvSpPr>
        <p:spPr/>
        <p:txBody>
          <a:bodyPr/>
          <a:lstStyle/>
          <a:p>
            <a:r>
              <a:rPr lang="en-US"/>
              <a:t>Consent Process</a:t>
            </a:r>
            <a:endParaRPr lang="en-US" dirty="0"/>
          </a:p>
        </p:txBody>
      </p:sp>
      <p:sp>
        <p:nvSpPr>
          <p:cNvPr id="5" name="Text Placeholder 4">
            <a:extLst>
              <a:ext uri="{FF2B5EF4-FFF2-40B4-BE49-F238E27FC236}">
                <a16:creationId xmlns:a16="http://schemas.microsoft.com/office/drawing/2014/main" id="{5879C55D-90D0-0D1D-1AAD-E7A234682566}"/>
              </a:ext>
            </a:extLst>
          </p:cNvPr>
          <p:cNvSpPr>
            <a:spLocks noGrp="1"/>
          </p:cNvSpPr>
          <p:nvPr>
            <p:ph type="body" sz="quarter" idx="23"/>
          </p:nvPr>
        </p:nvSpPr>
        <p:spPr/>
        <p:txBody>
          <a:bodyPr/>
          <a:lstStyle/>
          <a:p>
            <a:endParaRPr lang="en-US" dirty="0"/>
          </a:p>
        </p:txBody>
      </p:sp>
    </p:spTree>
    <p:extLst>
      <p:ext uri="{BB962C8B-B14F-4D97-AF65-F5344CB8AC3E}">
        <p14:creationId xmlns:p14="http://schemas.microsoft.com/office/powerpoint/2010/main" val="263729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D73E03-D2E7-ACB5-C94C-C461672310E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D83D93C-3620-D7B1-B05E-14242AC7E18D}"/>
              </a:ext>
            </a:extLst>
          </p:cNvPr>
          <p:cNvSpPr>
            <a:spLocks noGrp="1"/>
          </p:cNvSpPr>
          <p:nvPr>
            <p:ph type="title"/>
          </p:nvPr>
        </p:nvSpPr>
        <p:spPr/>
        <p:txBody>
          <a:bodyPr>
            <a:normAutofit/>
          </a:bodyPr>
          <a:lstStyle/>
          <a:p>
            <a:r>
              <a:rPr lang="en-US" dirty="0">
                <a:latin typeface="Ted Next"/>
              </a:rPr>
              <a:t>Getting Started – Number Verification Spec</a:t>
            </a:r>
          </a:p>
        </p:txBody>
      </p:sp>
      <p:sp>
        <p:nvSpPr>
          <p:cNvPr id="4" name="Slide Number Placeholder 3">
            <a:extLst>
              <a:ext uri="{FF2B5EF4-FFF2-40B4-BE49-F238E27FC236}">
                <a16:creationId xmlns:a16="http://schemas.microsoft.com/office/drawing/2014/main" id="{7D61B09B-703D-4774-E4EB-C2F576F5BF36}"/>
              </a:ext>
            </a:extLst>
          </p:cNvPr>
          <p:cNvSpPr>
            <a:spLocks noGrp="1"/>
          </p:cNvSpPr>
          <p:nvPr>
            <p:ph type="sldNum" sz="quarter" idx="12"/>
          </p:nvPr>
        </p:nvSpPr>
        <p:spPr>
          <a:xfrm>
            <a:off x="601663" y="6811506"/>
            <a:ext cx="594620" cy="184666"/>
          </a:xfrm>
        </p:spPr>
        <p:txBody>
          <a:bodyPr/>
          <a:lstStyle/>
          <a:p>
            <a:fld id="{37FA3778-6BAA-AD46-B30E-6B3D07CF735F}" type="slidenum">
              <a:rPr lang="en-US" smtClean="0"/>
              <a:t>15</a:t>
            </a:fld>
            <a:endParaRPr lang="en-US"/>
          </a:p>
        </p:txBody>
      </p:sp>
      <p:sp>
        <p:nvSpPr>
          <p:cNvPr id="39" name="TextBox 38">
            <a:hlinkClick r:id="rId2"/>
            <a:extLst>
              <a:ext uri="{FF2B5EF4-FFF2-40B4-BE49-F238E27FC236}">
                <a16:creationId xmlns:a16="http://schemas.microsoft.com/office/drawing/2014/main" id="{1FD0BE94-3045-3B2B-BEE5-0F2D6DC7F871}"/>
              </a:ext>
            </a:extLst>
          </p:cNvPr>
          <p:cNvSpPr txBox="1"/>
          <p:nvPr/>
        </p:nvSpPr>
        <p:spPr>
          <a:xfrm>
            <a:off x="764836" y="4470018"/>
            <a:ext cx="2576570"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CA" dirty="0">
                <a:hlinkClick r:id="rId3"/>
              </a:rPr>
              <a:t>NV@Swagger Editor</a:t>
            </a:r>
            <a:r>
              <a:rPr lang="en-CA" dirty="0"/>
              <a:t> Spec </a:t>
            </a:r>
            <a:endParaRPr kumimoji="0" lang="en-US" sz="1800" b="0" i="0" u="none" strike="noStrike" kern="100" cap="none" spc="-20" normalizeH="0" baseline="0" noProof="0" dirty="0">
              <a:ln>
                <a:noFill/>
              </a:ln>
              <a:solidFill>
                <a:srgbClr val="000000"/>
              </a:solidFill>
              <a:effectLst/>
              <a:uLnTx/>
              <a:uFillTx/>
              <a:latin typeface="Ted Next"/>
              <a:ea typeface="+mn-ea"/>
              <a:cs typeface="+mn-cs"/>
            </a:endParaRPr>
          </a:p>
        </p:txBody>
      </p:sp>
      <p:pic>
        <p:nvPicPr>
          <p:cNvPr id="5" name="Graphic 4">
            <a:extLst>
              <a:ext uri="{FF2B5EF4-FFF2-40B4-BE49-F238E27FC236}">
                <a16:creationId xmlns:a16="http://schemas.microsoft.com/office/drawing/2014/main" id="{ECBFEA6D-5581-F184-07BE-2284F561D8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1663" y="1637178"/>
            <a:ext cx="2938687" cy="2938687"/>
          </a:xfrm>
          <a:prstGeom prst="rect">
            <a:avLst/>
          </a:prstGeom>
        </p:spPr>
      </p:pic>
      <p:pic>
        <p:nvPicPr>
          <p:cNvPr id="7" name="Picture 6" descr="A screen shot of a computer code&#10;&#10;Description automatically generated">
            <a:extLst>
              <a:ext uri="{FF2B5EF4-FFF2-40B4-BE49-F238E27FC236}">
                <a16:creationId xmlns:a16="http://schemas.microsoft.com/office/drawing/2014/main" id="{F7D8FBA9-E03C-9953-EBB9-5DF778A8419E}"/>
              </a:ext>
            </a:extLst>
          </p:cNvPr>
          <p:cNvPicPr>
            <a:picLocks noChangeAspect="1"/>
          </p:cNvPicPr>
          <p:nvPr/>
        </p:nvPicPr>
        <p:blipFill>
          <a:blip r:embed="rId6"/>
          <a:stretch>
            <a:fillRect/>
          </a:stretch>
        </p:blipFill>
        <p:spPr>
          <a:xfrm>
            <a:off x="3817937" y="1905032"/>
            <a:ext cx="7772400" cy="2402980"/>
          </a:xfrm>
          <a:prstGeom prst="rect">
            <a:avLst/>
          </a:prstGeom>
        </p:spPr>
      </p:pic>
      <p:sp>
        <p:nvSpPr>
          <p:cNvPr id="8" name="TextBox 7">
            <a:hlinkClick r:id="rId2"/>
            <a:extLst>
              <a:ext uri="{FF2B5EF4-FFF2-40B4-BE49-F238E27FC236}">
                <a16:creationId xmlns:a16="http://schemas.microsoft.com/office/drawing/2014/main" id="{2A30D1F1-401B-0045-1FA6-0510EA27BE1F}"/>
              </a:ext>
            </a:extLst>
          </p:cNvPr>
          <p:cNvSpPr txBox="1"/>
          <p:nvPr/>
        </p:nvSpPr>
        <p:spPr>
          <a:xfrm>
            <a:off x="5882343" y="4495565"/>
            <a:ext cx="4628984"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CA" dirty="0"/>
              <a:t>Bash Shell Example using curl command </a:t>
            </a:r>
            <a:endParaRPr kumimoji="0" lang="en-US" sz="1800" b="0" i="0" u="none" strike="noStrike" kern="100" cap="none" spc="-20" normalizeH="0" baseline="0" noProof="0" dirty="0">
              <a:ln>
                <a:noFill/>
              </a:ln>
              <a:solidFill>
                <a:srgbClr val="000000"/>
              </a:solidFill>
              <a:effectLst/>
              <a:uLnTx/>
              <a:uFillTx/>
              <a:latin typeface="Ted Next"/>
              <a:ea typeface="+mn-ea"/>
              <a:cs typeface="+mn-cs"/>
            </a:endParaRPr>
          </a:p>
        </p:txBody>
      </p:sp>
      <p:sp>
        <p:nvSpPr>
          <p:cNvPr id="2" name="TextBox 1">
            <a:extLst>
              <a:ext uri="{FF2B5EF4-FFF2-40B4-BE49-F238E27FC236}">
                <a16:creationId xmlns:a16="http://schemas.microsoft.com/office/drawing/2014/main" id="{F8E6FF77-8D1F-0246-EA0A-884A1A0E8FFB}"/>
              </a:ext>
            </a:extLst>
          </p:cNvPr>
          <p:cNvSpPr txBox="1"/>
          <p:nvPr/>
        </p:nvSpPr>
        <p:spPr>
          <a:xfrm>
            <a:off x="818259" y="5567117"/>
            <a:ext cx="10530555" cy="646331"/>
          </a:xfrm>
          <a:prstGeom prst="rect">
            <a:avLst/>
          </a:prstGeom>
          <a:noFill/>
        </p:spPr>
        <p:txBody>
          <a:bodyPr wrap="square">
            <a:spAutoFit/>
          </a:bodyPr>
          <a:lstStyle/>
          <a:p>
            <a:r>
              <a:rPr lang="en-CA" kern="0" dirty="0">
                <a:solidFill>
                  <a:srgbClr val="000000"/>
                </a:solidFill>
                <a:latin typeface="Ted Next" panose="02000507000000000004" pitchFamily="2" charset="77"/>
                <a:ea typeface="Calibri" panose="020F0502020204030204" pitchFamily="34" charset="0"/>
                <a:cs typeface="Times New Roman" panose="02020603050405020304" pitchFamily="18" charset="0"/>
              </a:rPr>
              <a:t>*For the purpose of the hackathon, you will be provided a </a:t>
            </a:r>
            <a:r>
              <a:rPr lang="en-CA" kern="0" dirty="0" err="1">
                <a:solidFill>
                  <a:srgbClr val="000000"/>
                </a:solidFill>
                <a:latin typeface="Ted Next" panose="02000507000000000004" pitchFamily="2" charset="77"/>
                <a:ea typeface="Calibri" panose="020F0502020204030204" pitchFamily="34" charset="0"/>
                <a:cs typeface="Times New Roman" panose="02020603050405020304" pitchFamily="18" charset="0"/>
              </a:rPr>
              <a:t>basename</a:t>
            </a:r>
            <a:r>
              <a:rPr lang="en-CA" kern="0" dirty="0">
                <a:solidFill>
                  <a:srgbClr val="000000"/>
                </a:solidFill>
                <a:latin typeface="Ted Next" panose="02000507000000000004" pitchFamily="2" charset="77"/>
                <a:ea typeface="Calibri" panose="020F0502020204030204" pitchFamily="34" charset="0"/>
                <a:cs typeface="Times New Roman" panose="02020603050405020304" pitchFamily="18" charset="0"/>
              </a:rPr>
              <a:t> and access token against our sandbox and not Microsoft Azure Programable Connectivity Platform</a:t>
            </a:r>
            <a:endParaRPr lang="en-US" dirty="0"/>
          </a:p>
        </p:txBody>
      </p:sp>
    </p:spTree>
    <p:extLst>
      <p:ext uri="{BB962C8B-B14F-4D97-AF65-F5344CB8AC3E}">
        <p14:creationId xmlns:p14="http://schemas.microsoft.com/office/powerpoint/2010/main" val="952447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337C1-FA76-FB25-B42D-2F546A92E7E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9E28B53-6B9C-7F28-821E-66ECC324349F}"/>
              </a:ext>
            </a:extLst>
          </p:cNvPr>
          <p:cNvSpPr>
            <a:spLocks noGrp="1"/>
          </p:cNvSpPr>
          <p:nvPr>
            <p:ph type="title"/>
          </p:nvPr>
        </p:nvSpPr>
        <p:spPr/>
        <p:txBody>
          <a:bodyPr>
            <a:normAutofit/>
          </a:bodyPr>
          <a:lstStyle/>
          <a:p>
            <a:r>
              <a:rPr lang="en-US" dirty="0">
                <a:latin typeface="Ted Next"/>
              </a:rPr>
              <a:t>Getting Started Rogers Repository</a:t>
            </a:r>
          </a:p>
        </p:txBody>
      </p:sp>
      <p:sp>
        <p:nvSpPr>
          <p:cNvPr id="4" name="Slide Number Placeholder 3">
            <a:extLst>
              <a:ext uri="{FF2B5EF4-FFF2-40B4-BE49-F238E27FC236}">
                <a16:creationId xmlns:a16="http://schemas.microsoft.com/office/drawing/2014/main" id="{E4BB4825-7F1E-9D86-A623-F811A4BFE2D0}"/>
              </a:ext>
            </a:extLst>
          </p:cNvPr>
          <p:cNvSpPr>
            <a:spLocks noGrp="1"/>
          </p:cNvSpPr>
          <p:nvPr>
            <p:ph type="sldNum" sz="quarter" idx="12"/>
          </p:nvPr>
        </p:nvSpPr>
        <p:spPr>
          <a:xfrm>
            <a:off x="601663" y="6811506"/>
            <a:ext cx="594620" cy="184666"/>
          </a:xfrm>
        </p:spPr>
        <p:txBody>
          <a:bodyPr/>
          <a:lstStyle/>
          <a:p>
            <a:fld id="{37FA3778-6BAA-AD46-B30E-6B3D07CF735F}" type="slidenum">
              <a:rPr lang="en-US" smtClean="0"/>
              <a:t>16</a:t>
            </a:fld>
            <a:endParaRPr lang="en-US"/>
          </a:p>
        </p:txBody>
      </p:sp>
      <p:sp>
        <p:nvSpPr>
          <p:cNvPr id="39" name="TextBox 38">
            <a:hlinkClick r:id="rId2"/>
            <a:extLst>
              <a:ext uri="{FF2B5EF4-FFF2-40B4-BE49-F238E27FC236}">
                <a16:creationId xmlns:a16="http://schemas.microsoft.com/office/drawing/2014/main" id="{F99F5DC6-22A2-CF6F-C7D2-53F89E4955DE}"/>
              </a:ext>
            </a:extLst>
          </p:cNvPr>
          <p:cNvSpPr txBox="1"/>
          <p:nvPr/>
        </p:nvSpPr>
        <p:spPr>
          <a:xfrm>
            <a:off x="617163" y="1642531"/>
            <a:ext cx="10988674" cy="92333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CA" kern="0" dirty="0">
                <a:solidFill>
                  <a:srgbClr val="000000"/>
                </a:solidFill>
                <a:latin typeface="Ted Next" panose="02000507000000000004" pitchFamily="2" charset="77"/>
                <a:ea typeface="Calibri" panose="020F0502020204030204" pitchFamily="34" charset="0"/>
                <a:cs typeface="Times New Roman" panose="02020603050405020304" pitchFamily="18" charset="0"/>
              </a:rPr>
              <a:t>Getting Started Repository - </a:t>
            </a:r>
            <a:r>
              <a:rPr lang="en-CA" dirty="0">
                <a:hlinkClick r:id="rId2"/>
              </a:rPr>
              <a:t>questsin/UBC-Rogers-CAMARA-Hackathon: UBC Rogers CAMARA Hackathon (github.com)</a:t>
            </a:r>
            <a:endParaRPr kumimoji="0" lang="en-CA" sz="1800" b="0" i="0" u="none" strike="noStrike" kern="0" cap="none" spc="0" normalizeH="0" baseline="0" noProof="0" dirty="0">
              <a:ln>
                <a:noFill/>
              </a:ln>
              <a:solidFill>
                <a:srgbClr val="000000"/>
              </a:solidFill>
              <a:effectLst/>
              <a:uLnTx/>
              <a:uFillTx/>
              <a:latin typeface="Ted Next" panose="02000507000000000004" pitchFamily="2" charset="77"/>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00" cap="none" spc="-20" normalizeH="0" baseline="0" noProof="0" dirty="0">
              <a:ln>
                <a:noFill/>
              </a:ln>
              <a:solidFill>
                <a:srgbClr val="000000"/>
              </a:solidFill>
              <a:effectLst/>
              <a:uLnTx/>
              <a:uFillTx/>
              <a:latin typeface="Ted Next"/>
              <a:ea typeface="+mn-ea"/>
              <a:cs typeface="+mn-cs"/>
            </a:endParaRPr>
          </a:p>
        </p:txBody>
      </p:sp>
      <p:pic>
        <p:nvPicPr>
          <p:cNvPr id="41" name="Graphic 40">
            <a:extLst>
              <a:ext uri="{FF2B5EF4-FFF2-40B4-BE49-F238E27FC236}">
                <a16:creationId xmlns:a16="http://schemas.microsoft.com/office/drawing/2014/main" id="{862CA966-4871-EA65-DFF4-F15669AD35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03160" y="2165456"/>
            <a:ext cx="3063402" cy="3063402"/>
          </a:xfrm>
          <a:prstGeom prst="rect">
            <a:avLst/>
          </a:prstGeom>
        </p:spPr>
      </p:pic>
    </p:spTree>
    <p:extLst>
      <p:ext uri="{BB962C8B-B14F-4D97-AF65-F5344CB8AC3E}">
        <p14:creationId xmlns:p14="http://schemas.microsoft.com/office/powerpoint/2010/main" val="1095981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06908-5C18-4415-30B7-DF1586A919D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AA71041-8269-EB47-6424-EC60A2F5C68A}"/>
              </a:ext>
            </a:extLst>
          </p:cNvPr>
          <p:cNvSpPr>
            <a:spLocks noGrp="1"/>
          </p:cNvSpPr>
          <p:nvPr>
            <p:ph type="title"/>
          </p:nvPr>
        </p:nvSpPr>
        <p:spPr/>
        <p:txBody>
          <a:bodyPr>
            <a:normAutofit fontScale="90000"/>
          </a:bodyPr>
          <a:lstStyle/>
          <a:p>
            <a:r>
              <a:rPr lang="en-CA" dirty="0">
                <a:hlinkClick r:id="rId2"/>
              </a:rPr>
              <a:t>Network API Challenge | Institute for Computing, Information and Cognitive Systems (ICICS) (ubc.ca)</a:t>
            </a:r>
            <a:endParaRPr lang="en-US" dirty="0"/>
          </a:p>
        </p:txBody>
      </p:sp>
      <p:sp>
        <p:nvSpPr>
          <p:cNvPr id="4" name="Slide Number Placeholder 3">
            <a:extLst>
              <a:ext uri="{FF2B5EF4-FFF2-40B4-BE49-F238E27FC236}">
                <a16:creationId xmlns:a16="http://schemas.microsoft.com/office/drawing/2014/main" id="{E3BB7A03-8A44-A66F-C952-CD574D0E0B68}"/>
              </a:ext>
            </a:extLst>
          </p:cNvPr>
          <p:cNvSpPr>
            <a:spLocks noGrp="1"/>
          </p:cNvSpPr>
          <p:nvPr>
            <p:ph type="sldNum" sz="quarter" idx="12"/>
          </p:nvPr>
        </p:nvSpPr>
        <p:spPr/>
        <p:txBody>
          <a:bodyPr/>
          <a:lstStyle/>
          <a:p>
            <a:fld id="{37FA3778-6BAA-AD46-B30E-6B3D07CF735F}" type="slidenum">
              <a:rPr lang="en-US" smtClean="0"/>
              <a:t>2</a:t>
            </a:fld>
            <a:endParaRPr lang="en-US"/>
          </a:p>
        </p:txBody>
      </p:sp>
      <p:sp>
        <p:nvSpPr>
          <p:cNvPr id="11" name="Text Placeholder 10">
            <a:extLst>
              <a:ext uri="{FF2B5EF4-FFF2-40B4-BE49-F238E27FC236}">
                <a16:creationId xmlns:a16="http://schemas.microsoft.com/office/drawing/2014/main" id="{2A9B63FC-2374-ABAF-33CF-947D5DBBFD2B}"/>
              </a:ext>
            </a:extLst>
          </p:cNvPr>
          <p:cNvSpPr>
            <a:spLocks noGrp="1"/>
          </p:cNvSpPr>
          <p:nvPr>
            <p:ph type="body" sz="quarter" idx="20"/>
          </p:nvPr>
        </p:nvSpPr>
        <p:spPr>
          <a:xfrm>
            <a:off x="601663" y="1450253"/>
            <a:ext cx="10988674" cy="2146530"/>
          </a:xfrm>
        </p:spPr>
        <p:txBody>
          <a:bodyPr/>
          <a:lstStyle/>
          <a:p>
            <a:pPr marL="1350" indent="0">
              <a:buNone/>
            </a:pPr>
            <a:endParaRPr lang="en-US" dirty="0"/>
          </a:p>
          <a:p>
            <a:endParaRPr lang="en-US" dirty="0"/>
          </a:p>
        </p:txBody>
      </p:sp>
      <p:pic>
        <p:nvPicPr>
          <p:cNvPr id="14" name="Picture 13">
            <a:extLst>
              <a:ext uri="{FF2B5EF4-FFF2-40B4-BE49-F238E27FC236}">
                <a16:creationId xmlns:a16="http://schemas.microsoft.com/office/drawing/2014/main" id="{F0B98889-CAE1-2084-F72D-1FFE09B780DB}"/>
              </a:ext>
            </a:extLst>
          </p:cNvPr>
          <p:cNvPicPr>
            <a:picLocks noChangeAspect="1"/>
          </p:cNvPicPr>
          <p:nvPr/>
        </p:nvPicPr>
        <p:blipFill>
          <a:blip r:embed="rId3"/>
          <a:stretch>
            <a:fillRect/>
          </a:stretch>
        </p:blipFill>
        <p:spPr>
          <a:xfrm>
            <a:off x="908588" y="6117635"/>
            <a:ext cx="1447800" cy="419100"/>
          </a:xfrm>
          <a:prstGeom prst="rect">
            <a:avLst/>
          </a:prstGeom>
        </p:spPr>
      </p:pic>
      <p:pic>
        <p:nvPicPr>
          <p:cNvPr id="15" name="Picture 14">
            <a:extLst>
              <a:ext uri="{FF2B5EF4-FFF2-40B4-BE49-F238E27FC236}">
                <a16:creationId xmlns:a16="http://schemas.microsoft.com/office/drawing/2014/main" id="{29F5F4ED-B6D9-A3DC-22C2-B25AFEEB71BE}"/>
              </a:ext>
            </a:extLst>
          </p:cNvPr>
          <p:cNvPicPr>
            <a:picLocks noChangeAspect="1"/>
          </p:cNvPicPr>
          <p:nvPr/>
        </p:nvPicPr>
        <p:blipFill>
          <a:blip r:embed="rId4"/>
          <a:stretch>
            <a:fillRect/>
          </a:stretch>
        </p:blipFill>
        <p:spPr>
          <a:xfrm>
            <a:off x="4334358" y="6184469"/>
            <a:ext cx="609600" cy="533400"/>
          </a:xfrm>
          <a:prstGeom prst="rect">
            <a:avLst/>
          </a:prstGeom>
        </p:spPr>
      </p:pic>
      <p:pic>
        <p:nvPicPr>
          <p:cNvPr id="16" name="Picture 15">
            <a:extLst>
              <a:ext uri="{FF2B5EF4-FFF2-40B4-BE49-F238E27FC236}">
                <a16:creationId xmlns:a16="http://schemas.microsoft.com/office/drawing/2014/main" id="{8B697B27-6809-EF01-FA88-026114887AA1}"/>
              </a:ext>
            </a:extLst>
          </p:cNvPr>
          <p:cNvPicPr>
            <a:picLocks noChangeAspect="1"/>
          </p:cNvPicPr>
          <p:nvPr/>
        </p:nvPicPr>
        <p:blipFill>
          <a:blip r:embed="rId5"/>
          <a:stretch>
            <a:fillRect/>
          </a:stretch>
        </p:blipFill>
        <p:spPr>
          <a:xfrm>
            <a:off x="7229207" y="6172523"/>
            <a:ext cx="368300" cy="495300"/>
          </a:xfrm>
          <a:prstGeom prst="rect">
            <a:avLst/>
          </a:prstGeom>
        </p:spPr>
      </p:pic>
      <p:sp>
        <p:nvSpPr>
          <p:cNvPr id="2" name="TextBox 1">
            <a:extLst>
              <a:ext uri="{FF2B5EF4-FFF2-40B4-BE49-F238E27FC236}">
                <a16:creationId xmlns:a16="http://schemas.microsoft.com/office/drawing/2014/main" id="{940E3554-36E4-4783-A332-CECBB7EFE409}"/>
              </a:ext>
            </a:extLst>
          </p:cNvPr>
          <p:cNvSpPr txBox="1"/>
          <p:nvPr/>
        </p:nvSpPr>
        <p:spPr>
          <a:xfrm>
            <a:off x="765661" y="5492850"/>
            <a:ext cx="3873497" cy="369332"/>
          </a:xfrm>
          <a:prstGeom prst="rect">
            <a:avLst/>
          </a:prstGeom>
          <a:noFill/>
        </p:spPr>
        <p:txBody>
          <a:bodyPr wrap="square" rtlCol="0">
            <a:spAutoFit/>
          </a:bodyPr>
          <a:lstStyle/>
          <a:p>
            <a:r>
              <a:rPr lang="en-US" dirty="0"/>
              <a:t>https://</a:t>
            </a:r>
            <a:r>
              <a:rPr lang="en-US" dirty="0" err="1"/>
              <a:t>www.linkedin.com</a:t>
            </a:r>
            <a:r>
              <a:rPr lang="en-US" dirty="0"/>
              <a:t>/in/nm3sys/</a:t>
            </a:r>
          </a:p>
        </p:txBody>
      </p:sp>
      <p:sp>
        <p:nvSpPr>
          <p:cNvPr id="5" name="TextBox 4">
            <a:extLst>
              <a:ext uri="{FF2B5EF4-FFF2-40B4-BE49-F238E27FC236}">
                <a16:creationId xmlns:a16="http://schemas.microsoft.com/office/drawing/2014/main" id="{96154DE0-4511-4E84-3A64-5080048336DA}"/>
              </a:ext>
            </a:extLst>
          </p:cNvPr>
          <p:cNvSpPr txBox="1"/>
          <p:nvPr/>
        </p:nvSpPr>
        <p:spPr>
          <a:xfrm>
            <a:off x="617546" y="1401780"/>
            <a:ext cx="10141609" cy="646331"/>
          </a:xfrm>
          <a:prstGeom prst="rect">
            <a:avLst/>
          </a:prstGeom>
          <a:noFill/>
        </p:spPr>
        <p:txBody>
          <a:bodyPr wrap="square" rtlCol="0">
            <a:spAutoFit/>
          </a:bodyPr>
          <a:lstStyle/>
          <a:p>
            <a:r>
              <a:rPr lang="en-US" dirty="0"/>
              <a:t>Rogers CAMARA / Network as a Service Technical Product Owner,  Nicholas Manolakos , Sr. Developer Architect. Partnerships and Innovation</a:t>
            </a:r>
          </a:p>
        </p:txBody>
      </p:sp>
      <p:pic>
        <p:nvPicPr>
          <p:cNvPr id="7" name="Picture 6" descr="A blue background with white outline icons&#10;&#10;Description automatically generated">
            <a:extLst>
              <a:ext uri="{FF2B5EF4-FFF2-40B4-BE49-F238E27FC236}">
                <a16:creationId xmlns:a16="http://schemas.microsoft.com/office/drawing/2014/main" id="{83215B6D-FDAB-AA46-EC00-7C2F3D0BF297}"/>
              </a:ext>
            </a:extLst>
          </p:cNvPr>
          <p:cNvPicPr>
            <a:picLocks noChangeAspect="1"/>
          </p:cNvPicPr>
          <p:nvPr/>
        </p:nvPicPr>
        <p:blipFill>
          <a:blip r:embed="rId6"/>
          <a:stretch>
            <a:fillRect/>
          </a:stretch>
        </p:blipFill>
        <p:spPr>
          <a:xfrm>
            <a:off x="2090261" y="2146933"/>
            <a:ext cx="7096470" cy="3305986"/>
          </a:xfrm>
          <a:prstGeom prst="rect">
            <a:avLst/>
          </a:prstGeom>
        </p:spPr>
      </p:pic>
      <p:sp>
        <p:nvSpPr>
          <p:cNvPr id="6" name="TextBox 5">
            <a:extLst>
              <a:ext uri="{FF2B5EF4-FFF2-40B4-BE49-F238E27FC236}">
                <a16:creationId xmlns:a16="http://schemas.microsoft.com/office/drawing/2014/main" id="{CC25F673-9C12-8647-3601-03D7CC79296B}"/>
              </a:ext>
            </a:extLst>
          </p:cNvPr>
          <p:cNvSpPr txBox="1"/>
          <p:nvPr/>
        </p:nvSpPr>
        <p:spPr>
          <a:xfrm>
            <a:off x="7929252" y="5600322"/>
            <a:ext cx="2684626" cy="369332"/>
          </a:xfrm>
          <a:prstGeom prst="rect">
            <a:avLst/>
          </a:prstGeom>
          <a:noFill/>
        </p:spPr>
        <p:txBody>
          <a:bodyPr wrap="square" rtlCol="0">
            <a:spAutoFit/>
          </a:bodyPr>
          <a:lstStyle/>
          <a:p>
            <a:r>
              <a:rPr lang="en-US" dirty="0" err="1"/>
              <a:t>nmanolak@rci.rogers.com</a:t>
            </a:r>
            <a:endParaRPr lang="en-US" dirty="0"/>
          </a:p>
        </p:txBody>
      </p:sp>
    </p:spTree>
    <p:extLst>
      <p:ext uri="{BB962C8B-B14F-4D97-AF65-F5344CB8AC3E}">
        <p14:creationId xmlns:p14="http://schemas.microsoft.com/office/powerpoint/2010/main" val="2652906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1D6D12-7450-467E-26C1-277769477DA6}"/>
              </a:ext>
            </a:extLst>
          </p:cNvPr>
          <p:cNvSpPr>
            <a:spLocks noGrp="1"/>
          </p:cNvSpPr>
          <p:nvPr>
            <p:ph type="title"/>
          </p:nvPr>
        </p:nvSpPr>
        <p:spPr/>
        <p:txBody>
          <a:bodyPr>
            <a:normAutofit fontScale="90000"/>
          </a:bodyPr>
          <a:lstStyle/>
          <a:p>
            <a:r>
              <a:rPr lang="en-US" dirty="0">
                <a:latin typeface="Ted Next"/>
              </a:rPr>
              <a:t>Project RAPID - Introduction and Program Overview</a:t>
            </a:r>
            <a:br>
              <a:rPr lang="en-US" dirty="0">
                <a:latin typeface="Ted Next"/>
              </a:rPr>
            </a:br>
            <a:r>
              <a:rPr lang="en-US" sz="1300" dirty="0">
                <a:latin typeface="Ted Next"/>
              </a:rPr>
              <a:t>N</a:t>
            </a:r>
            <a:r>
              <a:rPr lang="en-US" sz="1300" dirty="0"/>
              <a:t>etwork APIs / Network as a Service</a:t>
            </a:r>
            <a:endParaRPr lang="en-US" sz="1300" dirty="0">
              <a:latin typeface="Ted Next"/>
            </a:endParaRPr>
          </a:p>
        </p:txBody>
      </p:sp>
      <p:sp>
        <p:nvSpPr>
          <p:cNvPr id="4" name="Slide Number Placeholder 3">
            <a:extLst>
              <a:ext uri="{FF2B5EF4-FFF2-40B4-BE49-F238E27FC236}">
                <a16:creationId xmlns:a16="http://schemas.microsoft.com/office/drawing/2014/main" id="{F57D8A46-665C-4280-4957-0996A2543C3D}"/>
              </a:ext>
            </a:extLst>
          </p:cNvPr>
          <p:cNvSpPr>
            <a:spLocks noGrp="1"/>
          </p:cNvSpPr>
          <p:nvPr>
            <p:ph type="sldNum" sz="quarter" idx="12"/>
          </p:nvPr>
        </p:nvSpPr>
        <p:spPr/>
        <p:txBody>
          <a:bodyPr/>
          <a:lstStyle/>
          <a:p>
            <a:fld id="{37FA3778-6BAA-AD46-B30E-6B3D07CF735F}" type="slidenum">
              <a:rPr lang="en-US" smtClean="0"/>
              <a:t>3</a:t>
            </a:fld>
            <a:endParaRPr lang="en-US"/>
          </a:p>
        </p:txBody>
      </p:sp>
      <p:sp>
        <p:nvSpPr>
          <p:cNvPr id="14" name="TextBox 13">
            <a:extLst>
              <a:ext uri="{FF2B5EF4-FFF2-40B4-BE49-F238E27FC236}">
                <a16:creationId xmlns:a16="http://schemas.microsoft.com/office/drawing/2014/main" id="{45DAB4C8-A4D6-6AED-4FA4-870CCAFA5D0F}"/>
              </a:ext>
            </a:extLst>
          </p:cNvPr>
          <p:cNvSpPr txBox="1"/>
          <p:nvPr/>
        </p:nvSpPr>
        <p:spPr>
          <a:xfrm>
            <a:off x="262428" y="980728"/>
            <a:ext cx="6681775" cy="1600438"/>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0" cap="none" spc="0" normalizeH="0" baseline="0" noProof="0" dirty="0">
                <a:ln>
                  <a:noFill/>
                </a:ln>
                <a:solidFill>
                  <a:srgbClr val="000000"/>
                </a:solidFill>
                <a:effectLst/>
                <a:uLnTx/>
                <a:uFillTx/>
                <a:latin typeface="Ted Next" panose="02000507000000000004" pitchFamily="2" charset="77"/>
                <a:ea typeface="Calibri" panose="020F0502020204030204" pitchFamily="34" charset="0"/>
                <a:cs typeface="Times New Roman" panose="02020603050405020304" pitchFamily="18" charset="0"/>
              </a:rPr>
              <a:t>Network APIs allow ISVs to get information out of a network and configure a network</a:t>
            </a:r>
            <a:endParaRPr kumimoji="0" lang="en-CA" sz="1400" b="0" i="0" u="none" strike="noStrike" kern="0" cap="none" spc="0" normalizeH="0" baseline="0" noProof="0" dirty="0">
              <a:ln>
                <a:noFill/>
              </a:ln>
              <a:solidFill>
                <a:srgbClr val="000000"/>
              </a:solidFill>
              <a:effectLst/>
              <a:uLnTx/>
              <a:uFillTx/>
              <a:latin typeface="Ted Next" panose="02000507000000000004" pitchFamily="2" charset="77"/>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0" cap="none" spc="0" normalizeH="0" baseline="0" noProof="0" dirty="0">
                <a:ln>
                  <a:noFill/>
                </a:ln>
                <a:solidFill>
                  <a:srgbClr val="000000"/>
                </a:solidFill>
                <a:effectLst/>
                <a:uLnTx/>
                <a:uFillTx/>
                <a:latin typeface="Ted Next" panose="02000507000000000004" pitchFamily="2" charset="77"/>
                <a:ea typeface="Calibri" panose="020F0502020204030204" pitchFamily="34" charset="0"/>
                <a:cs typeface="Times New Roman" panose="02020603050405020304" pitchFamily="18" charset="0"/>
              </a:rPr>
              <a:t>They are a big step in the monetization of 5G networks</a:t>
            </a:r>
            <a:endParaRPr kumimoji="0" lang="en-US" sz="1400" b="0" i="0" u="none" strike="noStrike" kern="100" cap="none" spc="-20" normalizeH="0" baseline="0" noProof="0" dirty="0">
              <a:ln>
                <a:noFill/>
              </a:ln>
              <a:solidFill>
                <a:srgbClr val="000000"/>
              </a:solidFill>
              <a:effectLst/>
              <a:uLnTx/>
              <a:uFillTx/>
              <a:latin typeface="Ted N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00" cap="none" spc="-20" normalizeH="0" baseline="0" noProof="0" dirty="0">
                <a:ln>
                  <a:noFill/>
                </a:ln>
                <a:solidFill>
                  <a:srgbClr val="000000"/>
                </a:solidFill>
                <a:effectLst/>
                <a:uLnTx/>
                <a:uFillTx/>
                <a:latin typeface="Ted Next"/>
                <a:ea typeface="+mn-ea"/>
                <a:cs typeface="+mn-cs"/>
              </a:rPr>
              <a:t>Network APIs are not new but at MWC 2023, GSMA announced a standardization program that is bringing carriers together to create more value to the ISVs and allow operators to capture a significant market sh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00" cap="none" spc="-20" normalizeH="0" baseline="0" noProof="0" dirty="0">
                <a:ln>
                  <a:noFill/>
                </a:ln>
                <a:solidFill>
                  <a:srgbClr val="000000"/>
                </a:solidFill>
                <a:effectLst/>
                <a:uLnTx/>
                <a:uFillTx/>
                <a:latin typeface="Ted Next"/>
                <a:ea typeface="+mn-ea"/>
                <a:cs typeface="+mn-cs"/>
              </a:rPr>
              <a:t>Near-term market focus is on APIs addressing anti-fraud and identity use cases</a:t>
            </a:r>
          </a:p>
        </p:txBody>
      </p:sp>
      <p:grpSp>
        <p:nvGrpSpPr>
          <p:cNvPr id="46" name="Group 45">
            <a:extLst>
              <a:ext uri="{FF2B5EF4-FFF2-40B4-BE49-F238E27FC236}">
                <a16:creationId xmlns:a16="http://schemas.microsoft.com/office/drawing/2014/main" id="{1359EDB2-F62E-E1E9-458C-BD44DBB66F7E}"/>
              </a:ext>
            </a:extLst>
          </p:cNvPr>
          <p:cNvGrpSpPr/>
          <p:nvPr/>
        </p:nvGrpSpPr>
        <p:grpSpPr>
          <a:xfrm>
            <a:off x="398724" y="2844380"/>
            <a:ext cx="3436730" cy="2950188"/>
            <a:chOff x="571038" y="1334931"/>
            <a:chExt cx="3436730" cy="2950188"/>
          </a:xfrm>
        </p:grpSpPr>
        <p:grpSp>
          <p:nvGrpSpPr>
            <p:cNvPr id="47" name="Group 46">
              <a:extLst>
                <a:ext uri="{FF2B5EF4-FFF2-40B4-BE49-F238E27FC236}">
                  <a16:creationId xmlns:a16="http://schemas.microsoft.com/office/drawing/2014/main" id="{CB013C88-3403-726D-F43F-4BF1366DBE89}"/>
                </a:ext>
              </a:extLst>
            </p:cNvPr>
            <p:cNvGrpSpPr/>
            <p:nvPr/>
          </p:nvGrpSpPr>
          <p:grpSpPr>
            <a:xfrm>
              <a:off x="571038" y="1334931"/>
              <a:ext cx="3436730" cy="2950188"/>
              <a:chOff x="479376" y="908719"/>
              <a:chExt cx="3436730" cy="2950188"/>
            </a:xfrm>
          </p:grpSpPr>
          <p:sp>
            <p:nvSpPr>
              <p:cNvPr id="49" name="Rectangle 48">
                <a:extLst>
                  <a:ext uri="{FF2B5EF4-FFF2-40B4-BE49-F238E27FC236}">
                    <a16:creationId xmlns:a16="http://schemas.microsoft.com/office/drawing/2014/main" id="{7681DDF7-2803-439F-BFFA-86EDAACBEF5E}"/>
                  </a:ext>
                </a:extLst>
              </p:cNvPr>
              <p:cNvSpPr/>
              <p:nvPr/>
            </p:nvSpPr>
            <p:spPr>
              <a:xfrm>
                <a:off x="479376" y="908719"/>
                <a:ext cx="3436730" cy="2950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w="0">
                    <a:noFill/>
                  </a:ln>
                  <a:solidFill>
                    <a:srgbClr val="DA281C"/>
                  </a:solidFill>
                  <a:effectLst/>
                  <a:uLnTx/>
                  <a:uFillTx/>
                  <a:latin typeface="Ted Next"/>
                  <a:ea typeface="+mn-ea"/>
                  <a:cs typeface="+mn-cs"/>
                </a:endParaRPr>
              </a:p>
            </p:txBody>
          </p:sp>
          <p:sp>
            <p:nvSpPr>
              <p:cNvPr id="50" name="TextBox 49">
                <a:extLst>
                  <a:ext uri="{FF2B5EF4-FFF2-40B4-BE49-F238E27FC236}">
                    <a16:creationId xmlns:a16="http://schemas.microsoft.com/office/drawing/2014/main" id="{11F6F545-5C87-28D5-DC46-CEC72E6882C9}"/>
                  </a:ext>
                </a:extLst>
              </p:cNvPr>
              <p:cNvSpPr txBox="1"/>
              <p:nvPr/>
            </p:nvSpPr>
            <p:spPr>
              <a:xfrm>
                <a:off x="517939" y="1025354"/>
                <a:ext cx="3318209" cy="784830"/>
              </a:xfrm>
              <a:prstGeom prst="rect">
                <a:avLst/>
              </a:prstGeom>
            </p:spPr>
            <p:txBody>
              <a:bodyPr wrap="square" rtlCol="0">
                <a:spAutoFit/>
              </a:bodyPr>
              <a:lstStyle/>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600" b="1" i="0" u="none" strike="noStrike" kern="1200" cap="none" spc="0" normalizeH="0" baseline="0" noProof="0">
                    <a:ln w="0">
                      <a:noFill/>
                    </a:ln>
                    <a:solidFill>
                      <a:srgbClr val="DA281C"/>
                    </a:solidFill>
                    <a:effectLst/>
                    <a:uLnTx/>
                    <a:uFillTx/>
                    <a:latin typeface="Ted Next"/>
                    <a:ea typeface="+mn-ea"/>
                    <a:cs typeface="+mn-cs"/>
                  </a:rPr>
                  <a:t>Quick Glance: Projected </a:t>
                </a:r>
              </a:p>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600" b="1" i="0" u="none" strike="noStrike" kern="1200" cap="none" spc="0" normalizeH="0" baseline="0" noProof="0">
                    <a:ln w="0">
                      <a:noFill/>
                    </a:ln>
                    <a:solidFill>
                      <a:srgbClr val="DA281C"/>
                    </a:solidFill>
                    <a:effectLst/>
                    <a:uLnTx/>
                    <a:uFillTx/>
                    <a:latin typeface="Ted Next"/>
                    <a:ea typeface="+mn-ea"/>
                    <a:cs typeface="+mn-cs"/>
                  </a:rPr>
                  <a:t>Opportunity by 2028 (USD)</a:t>
                </a:r>
              </a:p>
              <a:p>
                <a:pPr marL="0" marR="0" lvl="0" indent="0" algn="l" defTabSz="914400" rtl="0" eaLnBrk="1" fontAlgn="auto" latinLnBrk="0" hangingPunct="1">
                  <a:lnSpc>
                    <a:spcPts val="1780"/>
                  </a:lnSpc>
                  <a:spcBef>
                    <a:spcPts val="0"/>
                  </a:spcBef>
                  <a:spcAft>
                    <a:spcPts val="0"/>
                  </a:spcAft>
                  <a:buClrTx/>
                  <a:buSzTx/>
                  <a:buFontTx/>
                  <a:buNone/>
                  <a:tabLst/>
                  <a:defRPr/>
                </a:pPr>
                <a:endParaRPr kumimoji="0" lang="en-US" sz="1800" b="0" i="0" u="none" strike="noStrike" kern="100" cap="none" spc="-20" normalizeH="0" baseline="0" noProof="0">
                  <a:ln>
                    <a:noFill/>
                  </a:ln>
                  <a:solidFill>
                    <a:srgbClr val="000000"/>
                  </a:solidFill>
                  <a:effectLst/>
                  <a:uLnTx/>
                  <a:uFillTx/>
                  <a:latin typeface="Ted Next"/>
                  <a:ea typeface="+mn-ea"/>
                  <a:cs typeface="+mn-cs"/>
                </a:endParaRPr>
              </a:p>
            </p:txBody>
          </p:sp>
          <p:sp>
            <p:nvSpPr>
              <p:cNvPr id="51" name="TextBox 50">
                <a:extLst>
                  <a:ext uri="{FF2B5EF4-FFF2-40B4-BE49-F238E27FC236}">
                    <a16:creationId xmlns:a16="http://schemas.microsoft.com/office/drawing/2014/main" id="{49F60FC2-2983-0268-7462-616978D17367}"/>
                  </a:ext>
                </a:extLst>
              </p:cNvPr>
              <p:cNvSpPr txBox="1"/>
              <p:nvPr/>
            </p:nvSpPr>
            <p:spPr>
              <a:xfrm>
                <a:off x="664170" y="1712916"/>
                <a:ext cx="3202591" cy="1682320"/>
              </a:xfrm>
              <a:prstGeom prst="rect">
                <a:avLst/>
              </a:prstGeom>
            </p:spPr>
            <p:txBody>
              <a:bodyPr wrap="square" rtlCol="0">
                <a:spAutoFit/>
              </a:bodyPr>
              <a:lstStyle/>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400" b="1" i="0" u="none" strike="noStrike" kern="100" cap="none" spc="-20" normalizeH="0" baseline="0" noProof="0">
                    <a:ln>
                      <a:noFill/>
                    </a:ln>
                    <a:solidFill>
                      <a:srgbClr val="DA281C"/>
                    </a:solidFill>
                    <a:effectLst/>
                    <a:uLnTx/>
                    <a:uFillTx/>
                    <a:latin typeface="Ted Next"/>
                    <a:ea typeface="+mn-ea"/>
                    <a:cs typeface="+mn-cs"/>
                  </a:rPr>
                  <a:t>World: </a:t>
                </a:r>
                <a:r>
                  <a:rPr kumimoji="0" lang="en-US" sz="1400" b="0" i="0" u="none" strike="noStrike" kern="100" cap="none" spc="-20" normalizeH="0" baseline="0" noProof="0">
                    <a:ln>
                      <a:noFill/>
                    </a:ln>
                    <a:solidFill>
                      <a:srgbClr val="000000"/>
                    </a:solidFill>
                    <a:effectLst/>
                    <a:uLnTx/>
                    <a:uFillTx/>
                    <a:latin typeface="Ted Next"/>
                    <a:ea typeface="+mn-ea"/>
                    <a:cs typeface="+mn-cs"/>
                  </a:rPr>
                  <a:t>$22 Billion</a:t>
                </a:r>
              </a:p>
              <a:p>
                <a:pPr marL="0" marR="0" lvl="0" indent="0" algn="l" defTabSz="914400" rtl="0" eaLnBrk="1" fontAlgn="auto" latinLnBrk="0" hangingPunct="1">
                  <a:lnSpc>
                    <a:spcPts val="1780"/>
                  </a:lnSpc>
                  <a:spcBef>
                    <a:spcPts val="0"/>
                  </a:spcBef>
                  <a:spcAft>
                    <a:spcPts val="0"/>
                  </a:spcAft>
                  <a:buClrTx/>
                  <a:buSzTx/>
                  <a:buFontTx/>
                  <a:buNone/>
                  <a:tabLst/>
                  <a:defRPr/>
                </a:pPr>
                <a:endParaRPr kumimoji="0" lang="en-US" sz="1400" b="0" i="0" u="none" strike="noStrike" kern="100" cap="none" spc="-20" normalizeH="0" baseline="0" noProof="0">
                  <a:ln>
                    <a:noFill/>
                  </a:ln>
                  <a:solidFill>
                    <a:srgbClr val="000000"/>
                  </a:solidFill>
                  <a:effectLst/>
                  <a:uLnTx/>
                  <a:uFillTx/>
                  <a:latin typeface="Ted Next"/>
                  <a:ea typeface="+mn-ea"/>
                  <a:cs typeface="+mn-cs"/>
                </a:endParaRPr>
              </a:p>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400" b="1" i="0" u="none" strike="noStrike" kern="100" cap="none" spc="-20" normalizeH="0" baseline="0" noProof="0">
                    <a:ln>
                      <a:noFill/>
                    </a:ln>
                    <a:solidFill>
                      <a:srgbClr val="DA281C"/>
                    </a:solidFill>
                    <a:effectLst/>
                    <a:uLnTx/>
                    <a:uFillTx/>
                    <a:latin typeface="Ted Next"/>
                    <a:ea typeface="+mn-ea"/>
                    <a:cs typeface="+mn-cs"/>
                  </a:rPr>
                  <a:t>Canada: </a:t>
                </a:r>
                <a:r>
                  <a:rPr kumimoji="0" lang="en-US" sz="1400" b="0" i="0" u="none" strike="noStrike" kern="100" cap="none" spc="-20" normalizeH="0" baseline="0" noProof="0">
                    <a:ln>
                      <a:noFill/>
                    </a:ln>
                    <a:solidFill>
                      <a:srgbClr val="000000"/>
                    </a:solidFill>
                    <a:effectLst/>
                    <a:uLnTx/>
                    <a:uFillTx/>
                    <a:latin typeface="Ted Next"/>
                    <a:ea typeface="+mn-ea"/>
                    <a:cs typeface="+mn-cs"/>
                  </a:rPr>
                  <a:t>$420 Million</a:t>
                </a:r>
              </a:p>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000" b="0" i="0" u="none" strike="noStrike" kern="100" cap="none" spc="-20" normalizeH="0" baseline="0" noProof="0">
                    <a:ln>
                      <a:noFill/>
                    </a:ln>
                    <a:solidFill>
                      <a:srgbClr val="000000"/>
                    </a:solidFill>
                    <a:effectLst/>
                    <a:uLnTx/>
                    <a:uFillTx/>
                    <a:latin typeface="Ted Next"/>
                    <a:ea typeface="+mn-ea"/>
                    <a:cs typeface="+mn-cs"/>
                  </a:rPr>
                  <a:t>*assuming 2% of global market share</a:t>
                </a:r>
              </a:p>
              <a:p>
                <a:pPr marL="0" marR="0" lvl="0" indent="0" algn="l" defTabSz="914400" rtl="0" eaLnBrk="1" fontAlgn="auto" latinLnBrk="0" hangingPunct="1">
                  <a:lnSpc>
                    <a:spcPts val="1780"/>
                  </a:lnSpc>
                  <a:spcBef>
                    <a:spcPts val="0"/>
                  </a:spcBef>
                  <a:spcAft>
                    <a:spcPts val="0"/>
                  </a:spcAft>
                  <a:buClrTx/>
                  <a:buSzTx/>
                  <a:buFontTx/>
                  <a:buNone/>
                  <a:tabLst/>
                  <a:defRPr/>
                </a:pPr>
                <a:endParaRPr kumimoji="0" lang="en-US" sz="1400" b="0" i="0" u="none" strike="noStrike" kern="100" cap="none" spc="-20" normalizeH="0" baseline="0" noProof="0">
                  <a:ln>
                    <a:noFill/>
                  </a:ln>
                  <a:solidFill>
                    <a:srgbClr val="000000"/>
                  </a:solidFill>
                  <a:effectLst/>
                  <a:uLnTx/>
                  <a:uFillTx/>
                  <a:latin typeface="Ted Next"/>
                  <a:ea typeface="+mn-ea"/>
                  <a:cs typeface="+mn-cs"/>
                </a:endParaRPr>
              </a:p>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400" b="1" i="0" u="none" strike="noStrike" kern="100" cap="none" spc="-20" normalizeH="0" baseline="0" noProof="0">
                    <a:ln>
                      <a:noFill/>
                    </a:ln>
                    <a:solidFill>
                      <a:srgbClr val="DA281C"/>
                    </a:solidFill>
                    <a:effectLst/>
                    <a:uLnTx/>
                    <a:uFillTx/>
                    <a:latin typeface="Ted Next"/>
                    <a:ea typeface="+mn-ea"/>
                    <a:cs typeface="+mn-cs"/>
                  </a:rPr>
                  <a:t>For Rogers: </a:t>
                </a:r>
                <a:r>
                  <a:rPr kumimoji="0" lang="en-US" sz="1400" b="0" i="0" u="none" strike="noStrike" kern="100" cap="none" spc="-20" normalizeH="0" baseline="0" noProof="0">
                    <a:ln>
                      <a:noFill/>
                    </a:ln>
                    <a:solidFill>
                      <a:srgbClr val="000000"/>
                    </a:solidFill>
                    <a:effectLst/>
                    <a:uLnTx/>
                    <a:uFillTx/>
                    <a:latin typeface="Ted Next"/>
                    <a:ea typeface="+mn-ea"/>
                    <a:cs typeface="+mn-cs"/>
                  </a:rPr>
                  <a:t>$145 Million**</a:t>
                </a:r>
              </a:p>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000" b="0" i="0" u="none" strike="noStrike" kern="100" cap="none" spc="-20" normalizeH="0" baseline="0" noProof="0">
                    <a:ln>
                      <a:noFill/>
                    </a:ln>
                    <a:solidFill>
                      <a:srgbClr val="000000"/>
                    </a:solidFill>
                    <a:effectLst/>
                    <a:uLnTx/>
                    <a:uFillTx/>
                    <a:latin typeface="Ted Next"/>
                    <a:ea typeface="+mn-ea"/>
                    <a:cs typeface="+mn-cs"/>
                  </a:rPr>
                  <a:t>*assuming of 1/3 Canadian market share</a:t>
                </a:r>
              </a:p>
            </p:txBody>
          </p:sp>
        </p:grpSp>
        <p:sp>
          <p:nvSpPr>
            <p:cNvPr id="48" name="TextBox 47">
              <a:extLst>
                <a:ext uri="{FF2B5EF4-FFF2-40B4-BE49-F238E27FC236}">
                  <a16:creationId xmlns:a16="http://schemas.microsoft.com/office/drawing/2014/main" id="{7B44988F-014C-85CF-D1FC-39F313AE8549}"/>
                </a:ext>
              </a:extLst>
            </p:cNvPr>
            <p:cNvSpPr txBox="1"/>
            <p:nvPr/>
          </p:nvSpPr>
          <p:spPr>
            <a:xfrm>
              <a:off x="609601" y="3885955"/>
              <a:ext cx="1436612" cy="300531"/>
            </a:xfrm>
            <a:prstGeom prst="rect">
              <a:avLst/>
            </a:prstGeom>
          </p:spPr>
          <p:txBody>
            <a:bodyPr wrap="none" rtlCol="0">
              <a:spAutoFit/>
            </a:bodyPr>
            <a:lstStyle/>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100" b="0" i="0" u="none" strike="noStrike" kern="100" cap="none" spc="-20" normalizeH="0" baseline="0" noProof="0">
                  <a:ln>
                    <a:noFill/>
                  </a:ln>
                  <a:solidFill>
                    <a:srgbClr val="000000"/>
                  </a:solidFill>
                  <a:effectLst/>
                  <a:uLnTx/>
                  <a:uFillTx/>
                  <a:latin typeface="Ted Next"/>
                  <a:ea typeface="+mn-ea"/>
                  <a:cs typeface="+mn-cs"/>
                </a:rPr>
                <a:t>Source: STL Partners</a:t>
              </a:r>
            </a:p>
          </p:txBody>
        </p:sp>
      </p:grpSp>
      <p:sp>
        <p:nvSpPr>
          <p:cNvPr id="52" name="TextBox 51">
            <a:extLst>
              <a:ext uri="{FF2B5EF4-FFF2-40B4-BE49-F238E27FC236}">
                <a16:creationId xmlns:a16="http://schemas.microsoft.com/office/drawing/2014/main" id="{435AFE3A-0709-76D2-9889-2D6B6517E0E3}"/>
              </a:ext>
            </a:extLst>
          </p:cNvPr>
          <p:cNvSpPr txBox="1"/>
          <p:nvPr/>
        </p:nvSpPr>
        <p:spPr>
          <a:xfrm>
            <a:off x="3886227" y="2878156"/>
            <a:ext cx="3057976" cy="289310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00" cap="none" spc="-20" normalizeH="0" baseline="0" noProof="0">
                <a:ln>
                  <a:noFill/>
                </a:ln>
                <a:solidFill>
                  <a:srgbClr val="D9222A"/>
                </a:solidFill>
                <a:effectLst/>
                <a:uLnTx/>
                <a:uFillTx/>
                <a:latin typeface="Ted Next"/>
                <a:ea typeface="+mn-ea"/>
                <a:cs typeface="+mn-cs"/>
              </a:rPr>
              <a:t>Benefit to Developers</a:t>
            </a:r>
            <a:endParaRPr kumimoji="0" lang="en-CA" sz="1400" b="1" i="0" u="none" strike="noStrike" kern="100" cap="none" spc="-20" normalizeH="0" baseline="0" noProof="0">
              <a:ln>
                <a:noFill/>
              </a:ln>
              <a:solidFill>
                <a:srgbClr val="FF0000"/>
              </a:solidFill>
              <a:effectLst/>
              <a:uLnTx/>
              <a:uFillTx/>
              <a:latin typeface="Ted N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100" cap="none" spc="-20" normalizeH="0" baseline="0" noProof="0">
                <a:ln>
                  <a:noFill/>
                </a:ln>
                <a:solidFill>
                  <a:srgbClr val="000000"/>
                </a:solidFill>
                <a:effectLst/>
                <a:uLnTx/>
                <a:uFillTx/>
                <a:latin typeface="Ted Next"/>
                <a:ea typeface="+mn-ea"/>
                <a:cs typeface="+mn-cs"/>
              </a:rPr>
              <a:t>Allows developers to configure networks based on application needs rather than work around their limitations </a:t>
            </a:r>
            <a:r>
              <a:rPr kumimoji="0" lang="en-CA" sz="1400" b="0" i="1" u="none" strike="noStrike" kern="100" cap="none" spc="-20" normalizeH="0" baseline="0" noProof="0">
                <a:ln>
                  <a:noFill/>
                </a:ln>
                <a:solidFill>
                  <a:srgbClr val="000000"/>
                </a:solidFill>
                <a:effectLst/>
                <a:uLnTx/>
                <a:uFillTx/>
                <a:latin typeface="Ted Next"/>
                <a:ea typeface="+mn-ea"/>
                <a:cs typeface="+mn-cs"/>
              </a:rPr>
              <a:t>[Key opportunity for telcos but will not be fully ready until DMC is compl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400" b="0" i="0" u="none" strike="noStrike" kern="100" cap="none" spc="-20" normalizeH="0" baseline="0" noProof="0">
              <a:ln>
                <a:noFill/>
              </a:ln>
              <a:solidFill>
                <a:srgbClr val="000000"/>
              </a:solidFill>
              <a:effectLst/>
              <a:uLnTx/>
              <a:uFillTx/>
              <a:latin typeface="Ted Nex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400" b="0" i="0" u="none" strike="noStrike" kern="100" cap="none" spc="-20" normalizeH="0" baseline="0" noProof="0">
                <a:ln>
                  <a:noFill/>
                </a:ln>
                <a:solidFill>
                  <a:srgbClr val="000000"/>
                </a:solidFill>
                <a:effectLst/>
                <a:uLnTx/>
                <a:uFillTx/>
                <a:latin typeface="Ted Next"/>
                <a:ea typeface="+mn-ea"/>
                <a:cs typeface="+mn-cs"/>
              </a:rPr>
              <a:t>Provides an interoperable, simplified and scalable way to validate user information for account creation/access and to prevent fraud.</a:t>
            </a:r>
          </a:p>
        </p:txBody>
      </p:sp>
      <p:sp>
        <p:nvSpPr>
          <p:cNvPr id="53" name="TextBox 52">
            <a:extLst>
              <a:ext uri="{FF2B5EF4-FFF2-40B4-BE49-F238E27FC236}">
                <a16:creationId xmlns:a16="http://schemas.microsoft.com/office/drawing/2014/main" id="{67771EA5-F851-E21C-4E13-03E81AC834F2}"/>
              </a:ext>
            </a:extLst>
          </p:cNvPr>
          <p:cNvSpPr txBox="1"/>
          <p:nvPr/>
        </p:nvSpPr>
        <p:spPr>
          <a:xfrm>
            <a:off x="398724" y="5771256"/>
            <a:ext cx="3436730" cy="540917"/>
          </a:xfrm>
          <a:prstGeom prst="rect">
            <a:avLst/>
          </a:prstGeom>
        </p:spPr>
        <p:txBody>
          <a:bodyPr wrap="square" rtlCol="0">
            <a:spAutoFit/>
          </a:bodyPr>
          <a:lstStyle/>
          <a:p>
            <a:pPr marL="0" marR="0" lvl="0" indent="0" algn="l" defTabSz="914400" rtl="0" eaLnBrk="1" fontAlgn="auto" latinLnBrk="0" hangingPunct="1">
              <a:lnSpc>
                <a:spcPts val="1780"/>
              </a:lnSpc>
              <a:spcBef>
                <a:spcPts val="0"/>
              </a:spcBef>
              <a:spcAft>
                <a:spcPts val="0"/>
              </a:spcAft>
              <a:buClrTx/>
              <a:buSzTx/>
              <a:buFontTx/>
              <a:buNone/>
              <a:tabLst/>
              <a:defRPr/>
            </a:pPr>
            <a:r>
              <a:rPr kumimoji="0" lang="en-US" sz="1200" b="0" i="0" u="none" strike="noStrike" kern="100" cap="none" spc="-20" normalizeH="0" baseline="0" noProof="0">
                <a:ln>
                  <a:noFill/>
                </a:ln>
                <a:effectLst/>
                <a:uLnTx/>
                <a:uFillTx/>
                <a:latin typeface="Ted Next"/>
                <a:ea typeface="+mn-ea"/>
                <a:cs typeface="+mn-cs"/>
              </a:rPr>
              <a:t>**McKinsey reported in Feb 2024 to 1B opportunity for Rogers by 2030</a:t>
            </a:r>
          </a:p>
        </p:txBody>
      </p:sp>
      <p:grpSp>
        <p:nvGrpSpPr>
          <p:cNvPr id="2" name="Group 1">
            <a:extLst>
              <a:ext uri="{FF2B5EF4-FFF2-40B4-BE49-F238E27FC236}">
                <a16:creationId xmlns:a16="http://schemas.microsoft.com/office/drawing/2014/main" id="{630CA758-670C-017F-0EBA-A821D19752FA}"/>
              </a:ext>
            </a:extLst>
          </p:cNvPr>
          <p:cNvGrpSpPr/>
          <p:nvPr/>
        </p:nvGrpSpPr>
        <p:grpSpPr>
          <a:xfrm>
            <a:off x="6770234" y="624088"/>
            <a:ext cx="5199301" cy="5333576"/>
            <a:chOff x="6730270" y="615704"/>
            <a:chExt cx="5199301" cy="5333576"/>
          </a:xfrm>
        </p:grpSpPr>
        <p:grpSp>
          <p:nvGrpSpPr>
            <p:cNvPr id="5" name="Group 4">
              <a:extLst>
                <a:ext uri="{FF2B5EF4-FFF2-40B4-BE49-F238E27FC236}">
                  <a16:creationId xmlns:a16="http://schemas.microsoft.com/office/drawing/2014/main" id="{4DC7D51C-40E6-D856-C136-79AD869C79B8}"/>
                </a:ext>
              </a:extLst>
            </p:cNvPr>
            <p:cNvGrpSpPr/>
            <p:nvPr/>
          </p:nvGrpSpPr>
          <p:grpSpPr>
            <a:xfrm>
              <a:off x="7418811" y="4789945"/>
              <a:ext cx="4069875" cy="1159335"/>
              <a:chOff x="983432" y="4581128"/>
              <a:chExt cx="4176464" cy="1189698"/>
            </a:xfrm>
          </p:grpSpPr>
          <p:sp>
            <p:nvSpPr>
              <p:cNvPr id="70" name="Rectangle 69">
                <a:extLst>
                  <a:ext uri="{FF2B5EF4-FFF2-40B4-BE49-F238E27FC236}">
                    <a16:creationId xmlns:a16="http://schemas.microsoft.com/office/drawing/2014/main" id="{A4F98B3C-96A0-A4A9-EFFA-8298CCCFFBF3}"/>
                  </a:ext>
                </a:extLst>
              </p:cNvPr>
              <p:cNvSpPr/>
              <p:nvPr/>
            </p:nvSpPr>
            <p:spPr>
              <a:xfrm>
                <a:off x="983432" y="5445224"/>
                <a:ext cx="4176464" cy="3256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sz="2400" b="1">
                    <a:solidFill>
                      <a:srgbClr val="FFFFFF"/>
                    </a:solidFill>
                    <a:latin typeface="Ted Next"/>
                  </a:rPr>
                  <a:t>CARRIERS</a:t>
                </a:r>
              </a:p>
            </p:txBody>
          </p:sp>
          <p:pic>
            <p:nvPicPr>
              <p:cNvPr id="71" name="Picture 70">
                <a:extLst>
                  <a:ext uri="{FF2B5EF4-FFF2-40B4-BE49-F238E27FC236}">
                    <a16:creationId xmlns:a16="http://schemas.microsoft.com/office/drawing/2014/main" id="{2A627D5B-DC05-D46A-35D9-7FFB6CBFA7B0}"/>
                  </a:ext>
                </a:extLst>
              </p:cNvPr>
              <p:cNvPicPr>
                <a:picLocks noChangeAspect="1"/>
              </p:cNvPicPr>
              <p:nvPr/>
            </p:nvPicPr>
            <p:blipFill>
              <a:blip r:embed="rId2"/>
              <a:stretch>
                <a:fillRect/>
              </a:stretch>
            </p:blipFill>
            <p:spPr>
              <a:xfrm>
                <a:off x="2294852" y="4941168"/>
                <a:ext cx="1683320" cy="294581"/>
              </a:xfrm>
              <a:prstGeom prst="rect">
                <a:avLst/>
              </a:prstGeom>
            </p:spPr>
          </p:pic>
          <p:sp>
            <p:nvSpPr>
              <p:cNvPr id="74" name="Rectangle 73">
                <a:extLst>
                  <a:ext uri="{FF2B5EF4-FFF2-40B4-BE49-F238E27FC236}">
                    <a16:creationId xmlns:a16="http://schemas.microsoft.com/office/drawing/2014/main" id="{8978AC06-4D94-14CC-F7CD-518E04771C39}"/>
                  </a:ext>
                </a:extLst>
              </p:cNvPr>
              <p:cNvSpPr/>
              <p:nvPr/>
            </p:nvSpPr>
            <p:spPr>
              <a:xfrm>
                <a:off x="983432" y="4581128"/>
                <a:ext cx="4176464" cy="11896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endParaRPr lang="en-US">
                  <a:solidFill>
                    <a:srgbClr val="FFFFFF"/>
                  </a:solidFill>
                  <a:latin typeface="Ted Next"/>
                </a:endParaRPr>
              </a:p>
            </p:txBody>
          </p:sp>
        </p:grpSp>
        <p:grpSp>
          <p:nvGrpSpPr>
            <p:cNvPr id="6" name="Group 5">
              <a:extLst>
                <a:ext uri="{FF2B5EF4-FFF2-40B4-BE49-F238E27FC236}">
                  <a16:creationId xmlns:a16="http://schemas.microsoft.com/office/drawing/2014/main" id="{C1E3F85F-9297-0C28-6175-CCC1EE7CDAAC}"/>
                </a:ext>
              </a:extLst>
            </p:cNvPr>
            <p:cNvGrpSpPr/>
            <p:nvPr/>
          </p:nvGrpSpPr>
          <p:grpSpPr>
            <a:xfrm>
              <a:off x="7418811" y="3081944"/>
              <a:ext cx="4069875" cy="1159335"/>
              <a:chOff x="983432" y="3059844"/>
              <a:chExt cx="4176464" cy="1189698"/>
            </a:xfrm>
          </p:grpSpPr>
          <p:sp>
            <p:nvSpPr>
              <p:cNvPr id="67" name="Rectangle 66">
                <a:extLst>
                  <a:ext uri="{FF2B5EF4-FFF2-40B4-BE49-F238E27FC236}">
                    <a16:creationId xmlns:a16="http://schemas.microsoft.com/office/drawing/2014/main" id="{EC6B8A09-EBD0-A652-B2C2-A905E635CE82}"/>
                  </a:ext>
                </a:extLst>
              </p:cNvPr>
              <p:cNvSpPr/>
              <p:nvPr/>
            </p:nvSpPr>
            <p:spPr>
              <a:xfrm>
                <a:off x="983432" y="3923940"/>
                <a:ext cx="4176464" cy="3256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sz="2400" b="1">
                    <a:solidFill>
                      <a:srgbClr val="FFFFFF"/>
                    </a:solidFill>
                    <a:latin typeface="Ted Next"/>
                  </a:rPr>
                  <a:t>AGGREGATOR</a:t>
                </a:r>
              </a:p>
            </p:txBody>
          </p:sp>
          <p:pic>
            <p:nvPicPr>
              <p:cNvPr id="68" name="Picture 67">
                <a:extLst>
                  <a:ext uri="{FF2B5EF4-FFF2-40B4-BE49-F238E27FC236}">
                    <a16:creationId xmlns:a16="http://schemas.microsoft.com/office/drawing/2014/main" id="{7460D1D1-D317-54FF-B536-9F765CD5D54C}"/>
                  </a:ext>
                </a:extLst>
              </p:cNvPr>
              <p:cNvPicPr>
                <a:picLocks noChangeAspect="1"/>
              </p:cNvPicPr>
              <p:nvPr/>
            </p:nvPicPr>
            <p:blipFill>
              <a:blip r:embed="rId3"/>
              <a:stretch>
                <a:fillRect/>
              </a:stretch>
            </p:blipFill>
            <p:spPr>
              <a:xfrm>
                <a:off x="1377258" y="3287012"/>
                <a:ext cx="1271464" cy="367035"/>
              </a:xfrm>
              <a:prstGeom prst="rect">
                <a:avLst/>
              </a:prstGeom>
            </p:spPr>
          </p:pic>
          <p:sp>
            <p:nvSpPr>
              <p:cNvPr id="69" name="Rectangle 68">
                <a:extLst>
                  <a:ext uri="{FF2B5EF4-FFF2-40B4-BE49-F238E27FC236}">
                    <a16:creationId xmlns:a16="http://schemas.microsoft.com/office/drawing/2014/main" id="{35942D2F-AB05-1AB4-B14D-CA26236B9315}"/>
                  </a:ext>
                </a:extLst>
              </p:cNvPr>
              <p:cNvSpPr/>
              <p:nvPr/>
            </p:nvSpPr>
            <p:spPr>
              <a:xfrm>
                <a:off x="983432" y="3059844"/>
                <a:ext cx="4176464" cy="11896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endParaRPr lang="en-US">
                  <a:solidFill>
                    <a:srgbClr val="FFFFFF"/>
                  </a:solidFill>
                  <a:latin typeface="Ted Next"/>
                </a:endParaRPr>
              </a:p>
            </p:txBody>
          </p:sp>
        </p:grpSp>
        <p:grpSp>
          <p:nvGrpSpPr>
            <p:cNvPr id="7" name="Group 6">
              <a:extLst>
                <a:ext uri="{FF2B5EF4-FFF2-40B4-BE49-F238E27FC236}">
                  <a16:creationId xmlns:a16="http://schemas.microsoft.com/office/drawing/2014/main" id="{59B08282-B01F-A531-41FD-F56A43B9F864}"/>
                </a:ext>
              </a:extLst>
            </p:cNvPr>
            <p:cNvGrpSpPr/>
            <p:nvPr/>
          </p:nvGrpSpPr>
          <p:grpSpPr>
            <a:xfrm>
              <a:off x="7325097" y="1366873"/>
              <a:ext cx="4257302" cy="1159335"/>
              <a:chOff x="887264" y="1538560"/>
              <a:chExt cx="4368800" cy="1189698"/>
            </a:xfrm>
          </p:grpSpPr>
          <p:sp>
            <p:nvSpPr>
              <p:cNvPr id="64" name="Rectangle 63">
                <a:extLst>
                  <a:ext uri="{FF2B5EF4-FFF2-40B4-BE49-F238E27FC236}">
                    <a16:creationId xmlns:a16="http://schemas.microsoft.com/office/drawing/2014/main" id="{BB29EE10-AB85-D7D4-89EB-A896842C32FC}"/>
                  </a:ext>
                </a:extLst>
              </p:cNvPr>
              <p:cNvSpPr/>
              <p:nvPr/>
            </p:nvSpPr>
            <p:spPr>
              <a:xfrm>
                <a:off x="983432" y="2402656"/>
                <a:ext cx="4176464" cy="3256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b="1" dirty="0">
                    <a:solidFill>
                      <a:srgbClr val="FFFFFF"/>
                    </a:solidFill>
                    <a:latin typeface="Ted Next"/>
                  </a:rPr>
                  <a:t>Independent software vendors </a:t>
                </a:r>
                <a:endParaRPr lang="en-US" sz="2400" b="1" dirty="0">
                  <a:solidFill>
                    <a:srgbClr val="FFFFFF"/>
                  </a:solidFill>
                  <a:latin typeface="Ted Next"/>
                </a:endParaRPr>
              </a:p>
            </p:txBody>
          </p:sp>
          <p:pic>
            <p:nvPicPr>
              <p:cNvPr id="65" name="Picture 64" descr="A black and white logo&#10;&#10;Description automatically generated">
                <a:extLst>
                  <a:ext uri="{FF2B5EF4-FFF2-40B4-BE49-F238E27FC236}">
                    <a16:creationId xmlns:a16="http://schemas.microsoft.com/office/drawing/2014/main" id="{7BCF9B9B-D5B8-CDC1-6467-700C800923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264" y="1556792"/>
                <a:ext cx="4368800" cy="863600"/>
              </a:xfrm>
              <a:prstGeom prst="rect">
                <a:avLst/>
              </a:prstGeom>
            </p:spPr>
          </p:pic>
          <p:sp>
            <p:nvSpPr>
              <p:cNvPr id="66" name="Rectangle 65">
                <a:extLst>
                  <a:ext uri="{FF2B5EF4-FFF2-40B4-BE49-F238E27FC236}">
                    <a16:creationId xmlns:a16="http://schemas.microsoft.com/office/drawing/2014/main" id="{4EA2D167-F30A-7C75-853B-59FC425D64F5}"/>
                  </a:ext>
                </a:extLst>
              </p:cNvPr>
              <p:cNvSpPr/>
              <p:nvPr/>
            </p:nvSpPr>
            <p:spPr>
              <a:xfrm>
                <a:off x="983432" y="1538560"/>
                <a:ext cx="4176464" cy="11896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endParaRPr lang="en-US">
                  <a:solidFill>
                    <a:srgbClr val="FFFFFF"/>
                  </a:solidFill>
                  <a:latin typeface="Ted Next"/>
                </a:endParaRPr>
              </a:p>
            </p:txBody>
          </p:sp>
        </p:grpSp>
        <p:cxnSp>
          <p:nvCxnSpPr>
            <p:cNvPr id="8" name="Straight Arrow Connector 7">
              <a:extLst>
                <a:ext uri="{FF2B5EF4-FFF2-40B4-BE49-F238E27FC236}">
                  <a16:creationId xmlns:a16="http://schemas.microsoft.com/office/drawing/2014/main" id="{839A88C9-61BC-2E64-E126-40DA7585B842}"/>
                </a:ext>
              </a:extLst>
            </p:cNvPr>
            <p:cNvCxnSpPr>
              <a:cxnSpLocks/>
            </p:cNvCxnSpPr>
            <p:nvPr/>
          </p:nvCxnSpPr>
          <p:spPr>
            <a:xfrm flipV="1">
              <a:off x="8688288" y="4241279"/>
              <a:ext cx="0" cy="54866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29A7604-7A38-9394-6327-9993E3BE4D43}"/>
                </a:ext>
              </a:extLst>
            </p:cNvPr>
            <p:cNvCxnSpPr>
              <a:cxnSpLocks/>
            </p:cNvCxnSpPr>
            <p:nvPr/>
          </p:nvCxnSpPr>
          <p:spPr>
            <a:xfrm flipV="1">
              <a:off x="9453748" y="2526208"/>
              <a:ext cx="0" cy="55573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EE225E4-F5D5-E585-4B27-DF03DB3FAFFB}"/>
                </a:ext>
              </a:extLst>
            </p:cNvPr>
            <p:cNvCxnSpPr>
              <a:cxnSpLocks/>
            </p:cNvCxnSpPr>
            <p:nvPr/>
          </p:nvCxnSpPr>
          <p:spPr>
            <a:xfrm>
              <a:off x="10920536" y="1127452"/>
              <a:ext cx="30627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8BB78F9-F1DA-6495-24FB-2C5B84832C7C}"/>
                </a:ext>
              </a:extLst>
            </p:cNvPr>
            <p:cNvCxnSpPr>
              <a:cxnSpLocks/>
            </p:cNvCxnSpPr>
            <p:nvPr/>
          </p:nvCxnSpPr>
          <p:spPr>
            <a:xfrm>
              <a:off x="10920536" y="768188"/>
              <a:ext cx="306276"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C6D18F2-2250-8103-DD95-3DA6291FA83A}"/>
                </a:ext>
              </a:extLst>
            </p:cNvPr>
            <p:cNvSpPr txBox="1"/>
            <p:nvPr/>
          </p:nvSpPr>
          <p:spPr>
            <a:xfrm>
              <a:off x="10088898" y="615704"/>
              <a:ext cx="839653" cy="300531"/>
            </a:xfrm>
            <a:prstGeom prst="rect">
              <a:avLst/>
            </a:prstGeom>
          </p:spPr>
          <p:txBody>
            <a:bodyPr wrap="none" rtlCol="0">
              <a:spAutoFit/>
            </a:bodyPr>
            <a:lstStyle/>
            <a:p>
              <a:pPr>
                <a:lnSpc>
                  <a:spcPts val="1780"/>
                </a:lnSpc>
              </a:pPr>
              <a:r>
                <a:rPr lang="en-US" sz="1100" kern="100" spc="-20"/>
                <a:t>API CALLS</a:t>
              </a:r>
            </a:p>
          </p:txBody>
        </p:sp>
        <p:sp>
          <p:nvSpPr>
            <p:cNvPr id="13" name="TextBox 12">
              <a:extLst>
                <a:ext uri="{FF2B5EF4-FFF2-40B4-BE49-F238E27FC236}">
                  <a16:creationId xmlns:a16="http://schemas.microsoft.com/office/drawing/2014/main" id="{5F471DFC-A6B4-2D45-E417-D2EDD23E1A9E}"/>
                </a:ext>
              </a:extLst>
            </p:cNvPr>
            <p:cNvSpPr txBox="1"/>
            <p:nvPr/>
          </p:nvSpPr>
          <p:spPr>
            <a:xfrm>
              <a:off x="9804524" y="976060"/>
              <a:ext cx="1120820" cy="300531"/>
            </a:xfrm>
            <a:prstGeom prst="rect">
              <a:avLst/>
            </a:prstGeom>
          </p:spPr>
          <p:txBody>
            <a:bodyPr wrap="none" rtlCol="0">
              <a:spAutoFit/>
            </a:bodyPr>
            <a:lstStyle/>
            <a:p>
              <a:pPr>
                <a:lnSpc>
                  <a:spcPts val="1780"/>
                </a:lnSpc>
              </a:pPr>
              <a:r>
                <a:rPr lang="en-US" sz="1100" kern="100" spc="-20"/>
                <a:t>MONEY FLOW</a:t>
              </a:r>
            </a:p>
          </p:txBody>
        </p:sp>
        <p:cxnSp>
          <p:nvCxnSpPr>
            <p:cNvPr id="54" name="Straight Arrow Connector 53">
              <a:extLst>
                <a:ext uri="{FF2B5EF4-FFF2-40B4-BE49-F238E27FC236}">
                  <a16:creationId xmlns:a16="http://schemas.microsoft.com/office/drawing/2014/main" id="{B0B2C1DD-8B35-78A7-B85F-EFEE246A279A}"/>
                </a:ext>
              </a:extLst>
            </p:cNvPr>
            <p:cNvCxnSpPr>
              <a:cxnSpLocks/>
            </p:cNvCxnSpPr>
            <p:nvPr/>
          </p:nvCxnSpPr>
          <p:spPr>
            <a:xfrm>
              <a:off x="8317072" y="4241279"/>
              <a:ext cx="0" cy="53724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E2F379A-184C-3112-F393-FB61A2406949}"/>
                </a:ext>
              </a:extLst>
            </p:cNvPr>
            <p:cNvCxnSpPr>
              <a:cxnSpLocks/>
            </p:cNvCxnSpPr>
            <p:nvPr/>
          </p:nvCxnSpPr>
          <p:spPr>
            <a:xfrm>
              <a:off x="8317072" y="2526901"/>
              <a:ext cx="0" cy="53724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CF079A3A-8D11-6F03-31D3-3230E0B51546}"/>
                </a:ext>
              </a:extLst>
            </p:cNvPr>
            <p:cNvSpPr txBox="1"/>
            <p:nvPr/>
          </p:nvSpPr>
          <p:spPr>
            <a:xfrm>
              <a:off x="7062561" y="2588320"/>
              <a:ext cx="1267335" cy="300531"/>
            </a:xfrm>
            <a:prstGeom prst="rect">
              <a:avLst/>
            </a:prstGeom>
          </p:spPr>
          <p:txBody>
            <a:bodyPr wrap="none" rtlCol="0">
              <a:spAutoFit/>
            </a:bodyPr>
            <a:lstStyle/>
            <a:p>
              <a:pPr>
                <a:lnSpc>
                  <a:spcPts val="1780"/>
                </a:lnSpc>
              </a:pPr>
              <a:r>
                <a:rPr lang="en-US" sz="1100" kern="100" spc="-20"/>
                <a:t>Collects payment</a:t>
              </a:r>
            </a:p>
          </p:txBody>
        </p:sp>
        <p:sp>
          <p:nvSpPr>
            <p:cNvPr id="57" name="TextBox 56">
              <a:extLst>
                <a:ext uri="{FF2B5EF4-FFF2-40B4-BE49-F238E27FC236}">
                  <a16:creationId xmlns:a16="http://schemas.microsoft.com/office/drawing/2014/main" id="{58D57994-4442-833F-4101-3368B185F5B5}"/>
                </a:ext>
              </a:extLst>
            </p:cNvPr>
            <p:cNvSpPr txBox="1"/>
            <p:nvPr/>
          </p:nvSpPr>
          <p:spPr>
            <a:xfrm>
              <a:off x="6730270" y="4241687"/>
              <a:ext cx="1741995" cy="531364"/>
            </a:xfrm>
            <a:prstGeom prst="rect">
              <a:avLst/>
            </a:prstGeom>
          </p:spPr>
          <p:txBody>
            <a:bodyPr wrap="square" rtlCol="0">
              <a:spAutoFit/>
            </a:bodyPr>
            <a:lstStyle/>
            <a:p>
              <a:pPr>
                <a:lnSpc>
                  <a:spcPts val="1780"/>
                </a:lnSpc>
              </a:pPr>
              <a:r>
                <a:rPr lang="en-US" sz="1100" kern="100" spc="-20"/>
                <a:t>Pays operators for API (minus marketplace %)</a:t>
              </a:r>
            </a:p>
          </p:txBody>
        </p:sp>
        <p:sp>
          <p:nvSpPr>
            <p:cNvPr id="58" name="TextBox 57">
              <a:extLst>
                <a:ext uri="{FF2B5EF4-FFF2-40B4-BE49-F238E27FC236}">
                  <a16:creationId xmlns:a16="http://schemas.microsoft.com/office/drawing/2014/main" id="{B75181B2-B2EB-05AD-1E12-86795513E3EF}"/>
                </a:ext>
              </a:extLst>
            </p:cNvPr>
            <p:cNvSpPr txBox="1"/>
            <p:nvPr/>
          </p:nvSpPr>
          <p:spPr>
            <a:xfrm>
              <a:off x="9481584" y="2533421"/>
              <a:ext cx="2447983" cy="531364"/>
            </a:xfrm>
            <a:prstGeom prst="rect">
              <a:avLst/>
            </a:prstGeom>
          </p:spPr>
          <p:txBody>
            <a:bodyPr wrap="square" rtlCol="0">
              <a:spAutoFit/>
            </a:bodyPr>
            <a:lstStyle/>
            <a:p>
              <a:pPr>
                <a:lnSpc>
                  <a:spcPts val="1780"/>
                </a:lnSpc>
              </a:pPr>
              <a:r>
                <a:rPr lang="en-US" sz="1100" kern="100" spc="-20"/>
                <a:t>Aggregates API calls across carriers to provide single end point</a:t>
              </a:r>
            </a:p>
          </p:txBody>
        </p:sp>
        <p:cxnSp>
          <p:nvCxnSpPr>
            <p:cNvPr id="59" name="Straight Arrow Connector 58">
              <a:extLst>
                <a:ext uri="{FF2B5EF4-FFF2-40B4-BE49-F238E27FC236}">
                  <a16:creationId xmlns:a16="http://schemas.microsoft.com/office/drawing/2014/main" id="{2063F539-E5CF-DCD3-749F-B1BAC7704038}"/>
                </a:ext>
              </a:extLst>
            </p:cNvPr>
            <p:cNvCxnSpPr>
              <a:cxnSpLocks/>
            </p:cNvCxnSpPr>
            <p:nvPr/>
          </p:nvCxnSpPr>
          <p:spPr>
            <a:xfrm flipV="1">
              <a:off x="9970379" y="4232628"/>
              <a:ext cx="0" cy="54866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C467769-CBFE-BA38-8228-0C89666642B7}"/>
                </a:ext>
              </a:extLst>
            </p:cNvPr>
            <p:cNvCxnSpPr>
              <a:cxnSpLocks/>
            </p:cNvCxnSpPr>
            <p:nvPr/>
          </p:nvCxnSpPr>
          <p:spPr>
            <a:xfrm flipV="1">
              <a:off x="11036087" y="4241279"/>
              <a:ext cx="0" cy="54866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27A0DCE-8637-E884-1594-28BFD29AEFE7}"/>
                </a:ext>
              </a:extLst>
            </p:cNvPr>
            <p:cNvSpPr txBox="1"/>
            <p:nvPr/>
          </p:nvSpPr>
          <p:spPr>
            <a:xfrm>
              <a:off x="8739062" y="4419243"/>
              <a:ext cx="820311" cy="300531"/>
            </a:xfrm>
            <a:prstGeom prst="rect">
              <a:avLst/>
            </a:prstGeom>
          </p:spPr>
          <p:txBody>
            <a:bodyPr wrap="square" rtlCol="0">
              <a:spAutoFit/>
            </a:bodyPr>
            <a:lstStyle/>
            <a:p>
              <a:pPr>
                <a:lnSpc>
                  <a:spcPts val="1780"/>
                </a:lnSpc>
              </a:pPr>
              <a:r>
                <a:rPr lang="en-US" sz="1100" kern="100" spc="-20"/>
                <a:t>API Call</a:t>
              </a:r>
            </a:p>
          </p:txBody>
        </p:sp>
        <p:sp>
          <p:nvSpPr>
            <p:cNvPr id="62" name="TextBox 61">
              <a:extLst>
                <a:ext uri="{FF2B5EF4-FFF2-40B4-BE49-F238E27FC236}">
                  <a16:creationId xmlns:a16="http://schemas.microsoft.com/office/drawing/2014/main" id="{C9229E60-DCB2-7ECB-968D-8FEB8946FFB5}"/>
                </a:ext>
              </a:extLst>
            </p:cNvPr>
            <p:cNvSpPr txBox="1"/>
            <p:nvPr/>
          </p:nvSpPr>
          <p:spPr>
            <a:xfrm>
              <a:off x="10021152" y="4419243"/>
              <a:ext cx="820311" cy="300531"/>
            </a:xfrm>
            <a:prstGeom prst="rect">
              <a:avLst/>
            </a:prstGeom>
          </p:spPr>
          <p:txBody>
            <a:bodyPr wrap="square" rtlCol="0">
              <a:spAutoFit/>
            </a:bodyPr>
            <a:lstStyle/>
            <a:p>
              <a:pPr>
                <a:lnSpc>
                  <a:spcPts val="1780"/>
                </a:lnSpc>
              </a:pPr>
              <a:r>
                <a:rPr lang="en-US" sz="1100" kern="100" spc="-20"/>
                <a:t>API Call</a:t>
              </a:r>
            </a:p>
          </p:txBody>
        </p:sp>
        <p:sp>
          <p:nvSpPr>
            <p:cNvPr id="63" name="TextBox 62">
              <a:extLst>
                <a:ext uri="{FF2B5EF4-FFF2-40B4-BE49-F238E27FC236}">
                  <a16:creationId xmlns:a16="http://schemas.microsoft.com/office/drawing/2014/main" id="{9E6A23D1-D486-2F0C-2F78-AFF0DAEB48E1}"/>
                </a:ext>
              </a:extLst>
            </p:cNvPr>
            <p:cNvSpPr txBox="1"/>
            <p:nvPr/>
          </p:nvSpPr>
          <p:spPr>
            <a:xfrm>
              <a:off x="11109260" y="4419241"/>
              <a:ext cx="820311" cy="300531"/>
            </a:xfrm>
            <a:prstGeom prst="rect">
              <a:avLst/>
            </a:prstGeom>
          </p:spPr>
          <p:txBody>
            <a:bodyPr wrap="square" rtlCol="0">
              <a:spAutoFit/>
            </a:bodyPr>
            <a:lstStyle/>
            <a:p>
              <a:pPr>
                <a:lnSpc>
                  <a:spcPts val="1780"/>
                </a:lnSpc>
              </a:pPr>
              <a:r>
                <a:rPr lang="en-US" sz="1100" kern="100" spc="-20"/>
                <a:t>API Call</a:t>
              </a:r>
            </a:p>
          </p:txBody>
        </p:sp>
      </p:grpSp>
      <p:pic>
        <p:nvPicPr>
          <p:cNvPr id="75" name="Picture 74">
            <a:extLst>
              <a:ext uri="{FF2B5EF4-FFF2-40B4-BE49-F238E27FC236}">
                <a16:creationId xmlns:a16="http://schemas.microsoft.com/office/drawing/2014/main" id="{E45FB4DD-DD73-9F2B-C969-CEA9EFBD41B4}"/>
              </a:ext>
            </a:extLst>
          </p:cNvPr>
          <p:cNvPicPr>
            <a:picLocks noChangeAspect="1"/>
          </p:cNvPicPr>
          <p:nvPr/>
        </p:nvPicPr>
        <p:blipFill>
          <a:blip r:embed="rId5"/>
          <a:stretch>
            <a:fillRect/>
          </a:stretch>
        </p:blipFill>
        <p:spPr>
          <a:xfrm>
            <a:off x="9781111" y="3314035"/>
            <a:ext cx="1281638" cy="381876"/>
          </a:xfrm>
          <a:prstGeom prst="rect">
            <a:avLst/>
          </a:prstGeom>
        </p:spPr>
      </p:pic>
    </p:spTree>
    <p:extLst>
      <p:ext uri="{BB962C8B-B14F-4D97-AF65-F5344CB8AC3E}">
        <p14:creationId xmlns:p14="http://schemas.microsoft.com/office/powerpoint/2010/main" val="2721791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932775-1A9F-0527-9870-E1659255E9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40932775-1A9F-0527-9870-E1659255E9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32" name="Picture 8" descr="GSMA Logo PNG vector in SVG, PDF, AI, CDR format">
            <a:extLst>
              <a:ext uri="{FF2B5EF4-FFF2-40B4-BE49-F238E27FC236}">
                <a16:creationId xmlns:a16="http://schemas.microsoft.com/office/drawing/2014/main" id="{4CF47055-2F49-1D15-E551-A7FBA006F4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15757" y="2201135"/>
            <a:ext cx="1661063" cy="124419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6BA3300-D143-2CEC-889B-5078D6AA8BA0}"/>
              </a:ext>
            </a:extLst>
          </p:cNvPr>
          <p:cNvSpPr>
            <a:spLocks noGrp="1"/>
          </p:cNvSpPr>
          <p:nvPr>
            <p:ph type="title"/>
          </p:nvPr>
        </p:nvSpPr>
        <p:spPr/>
        <p:txBody>
          <a:bodyPr vert="horz"/>
          <a:lstStyle/>
          <a:p>
            <a:r>
              <a:rPr lang="en-CA" dirty="0"/>
              <a:t>Background: GSMA Open Gateway Network API</a:t>
            </a:r>
          </a:p>
        </p:txBody>
      </p:sp>
      <p:sp>
        <p:nvSpPr>
          <p:cNvPr id="4" name="Slide Number Placeholder 3">
            <a:extLst>
              <a:ext uri="{FF2B5EF4-FFF2-40B4-BE49-F238E27FC236}">
                <a16:creationId xmlns:a16="http://schemas.microsoft.com/office/drawing/2014/main" id="{58902673-AAC2-667C-6A15-665BBC4A6F80}"/>
              </a:ext>
            </a:extLst>
          </p:cNvPr>
          <p:cNvSpPr>
            <a:spLocks noGrp="1"/>
          </p:cNvSpPr>
          <p:nvPr>
            <p:ph type="sldNum" sz="quarter" idx="4294967295"/>
          </p:nvPr>
        </p:nvSpPr>
        <p:spPr>
          <a:xfrm>
            <a:off x="0" y="6381750"/>
            <a:ext cx="520700" cy="365125"/>
          </a:xfrm>
        </p:spPr>
        <p:txBody>
          <a:bodyPr/>
          <a:lstStyle/>
          <a:p>
            <a:fld id="{6398E9DD-AA04-43A0-8C50-5990FB3A8D56}" type="slidenum">
              <a:rPr lang="en-US" smtClean="0"/>
              <a:pPr/>
              <a:t>4</a:t>
            </a:fld>
            <a:endParaRPr lang="en-US" dirty="0"/>
          </a:p>
        </p:txBody>
      </p:sp>
      <p:pic>
        <p:nvPicPr>
          <p:cNvPr id="18" name="Picture 8" descr="A picture containing text, clipart&#10;&#10;Description automatically generated">
            <a:extLst>
              <a:ext uri="{FF2B5EF4-FFF2-40B4-BE49-F238E27FC236}">
                <a16:creationId xmlns:a16="http://schemas.microsoft.com/office/drawing/2014/main" id="{273FA878-085A-5D37-4A76-BB9E25F06BB7}"/>
              </a:ext>
            </a:extLst>
          </p:cNvPr>
          <p:cNvPicPr>
            <a:picLocks noChangeAspect="1"/>
          </p:cNvPicPr>
          <p:nvPr/>
        </p:nvPicPr>
        <p:blipFill>
          <a:blip r:embed="rId7"/>
          <a:stretch>
            <a:fillRect/>
          </a:stretch>
        </p:blipFill>
        <p:spPr>
          <a:xfrm>
            <a:off x="9231680" y="4150504"/>
            <a:ext cx="2208169" cy="687791"/>
          </a:xfrm>
          <a:prstGeom prst="rect">
            <a:avLst/>
          </a:prstGeom>
        </p:spPr>
      </p:pic>
      <p:sp>
        <p:nvSpPr>
          <p:cNvPr id="20" name="Rectangle 19">
            <a:extLst>
              <a:ext uri="{FF2B5EF4-FFF2-40B4-BE49-F238E27FC236}">
                <a16:creationId xmlns:a16="http://schemas.microsoft.com/office/drawing/2014/main" id="{BC99341A-C729-A73D-448D-27C2C76B06BF}"/>
              </a:ext>
            </a:extLst>
          </p:cNvPr>
          <p:cNvSpPr/>
          <p:nvPr/>
        </p:nvSpPr>
        <p:spPr>
          <a:xfrm>
            <a:off x="5896512" y="4849725"/>
            <a:ext cx="2859110" cy="117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b="1" dirty="0">
                <a:solidFill>
                  <a:schemeClr val="tx1"/>
                </a:solidFill>
              </a:rPr>
              <a:t>Service APIs </a:t>
            </a:r>
          </a:p>
          <a:p>
            <a:r>
              <a:rPr lang="en-CA" sz="1200" b="1" dirty="0">
                <a:solidFill>
                  <a:schemeClr val="tx1"/>
                </a:solidFill>
              </a:rPr>
              <a:t>App-centric developer oriented</a:t>
            </a:r>
          </a:p>
          <a:p>
            <a:endParaRPr lang="en-CA" sz="1200" dirty="0">
              <a:solidFill>
                <a:schemeClr val="tx1"/>
              </a:solidFill>
            </a:endParaRPr>
          </a:p>
          <a:p>
            <a:r>
              <a:rPr lang="en-CA" sz="1200" dirty="0">
                <a:solidFill>
                  <a:schemeClr val="tx1"/>
                </a:solidFill>
              </a:rPr>
              <a:t>CAMARA is an open-source project defining the standardize spec and design of APIs </a:t>
            </a:r>
          </a:p>
        </p:txBody>
      </p:sp>
      <p:sp>
        <p:nvSpPr>
          <p:cNvPr id="21" name="Rectangle 20">
            <a:extLst>
              <a:ext uri="{FF2B5EF4-FFF2-40B4-BE49-F238E27FC236}">
                <a16:creationId xmlns:a16="http://schemas.microsoft.com/office/drawing/2014/main" id="{348F00AC-11A1-874C-AE54-8EA853A430E1}"/>
              </a:ext>
            </a:extLst>
          </p:cNvPr>
          <p:cNvSpPr/>
          <p:nvPr/>
        </p:nvSpPr>
        <p:spPr>
          <a:xfrm>
            <a:off x="5887178" y="3214481"/>
            <a:ext cx="5883447" cy="683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a:solidFill>
                  <a:schemeClr val="tx1"/>
                </a:solidFill>
              </a:rPr>
              <a:t>Governing body defining the technical and business principle for </a:t>
            </a:r>
            <a:r>
              <a:rPr lang="en-CA" sz="1200" dirty="0" err="1">
                <a:solidFill>
                  <a:schemeClr val="tx1"/>
                </a:solidFill>
              </a:rPr>
              <a:t>NaaS</a:t>
            </a:r>
            <a:r>
              <a:rPr lang="en-CA" sz="1200" dirty="0">
                <a:solidFill>
                  <a:schemeClr val="tx1"/>
                </a:solidFill>
              </a:rPr>
              <a:t> with the establishment of the GSMA Open Gateway </a:t>
            </a:r>
          </a:p>
        </p:txBody>
      </p:sp>
      <p:sp>
        <p:nvSpPr>
          <p:cNvPr id="22" name="Rectangle 21">
            <a:extLst>
              <a:ext uri="{FF2B5EF4-FFF2-40B4-BE49-F238E27FC236}">
                <a16:creationId xmlns:a16="http://schemas.microsoft.com/office/drawing/2014/main" id="{6CB6C8C8-A4BB-1475-CACA-1382CBCB010B}"/>
              </a:ext>
            </a:extLst>
          </p:cNvPr>
          <p:cNvSpPr/>
          <p:nvPr/>
        </p:nvSpPr>
        <p:spPr>
          <a:xfrm>
            <a:off x="8911513" y="4849725"/>
            <a:ext cx="2859110" cy="117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b="1" dirty="0">
                <a:solidFill>
                  <a:schemeClr val="tx1"/>
                </a:solidFill>
              </a:rPr>
              <a:t>Operate APIs</a:t>
            </a:r>
          </a:p>
          <a:p>
            <a:r>
              <a:rPr lang="en-CA" sz="1200" b="1" dirty="0">
                <a:solidFill>
                  <a:schemeClr val="tx1"/>
                </a:solidFill>
              </a:rPr>
              <a:t>Management oriented </a:t>
            </a:r>
          </a:p>
          <a:p>
            <a:endParaRPr lang="en-CA" sz="1200" dirty="0">
              <a:solidFill>
                <a:schemeClr val="tx1"/>
              </a:solidFill>
            </a:endParaRPr>
          </a:p>
          <a:p>
            <a:r>
              <a:rPr lang="en-CA" sz="1200" dirty="0">
                <a:solidFill>
                  <a:schemeClr val="tx1"/>
                </a:solidFill>
              </a:rPr>
              <a:t>Dedicated group defining how APIs services are to be operated and managed. </a:t>
            </a:r>
          </a:p>
        </p:txBody>
      </p:sp>
      <p:pic>
        <p:nvPicPr>
          <p:cNvPr id="1034" name="Picture 10" descr="Linux Foundation Telco API Project, CAMARA, Graduates to Funded Model with  Strong Industry Commitment">
            <a:extLst>
              <a:ext uri="{FF2B5EF4-FFF2-40B4-BE49-F238E27FC236}">
                <a16:creationId xmlns:a16="http://schemas.microsoft.com/office/drawing/2014/main" id="{D66116D8-52CF-7BC6-03CA-C63102BE5B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12648" y="4283892"/>
            <a:ext cx="2208169" cy="4210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25">
            <a:extLst>
              <a:ext uri="{FF2B5EF4-FFF2-40B4-BE49-F238E27FC236}">
                <a16:creationId xmlns:a16="http://schemas.microsoft.com/office/drawing/2014/main" id="{02894BB6-8974-F13B-37D0-EF2B2E6B9F15}"/>
              </a:ext>
            </a:extLst>
          </p:cNvPr>
          <p:cNvGraphicFramePr>
            <a:graphicFrameLocks noGrp="1"/>
          </p:cNvGraphicFramePr>
          <p:nvPr/>
        </p:nvGraphicFramePr>
        <p:xfrm>
          <a:off x="5887177" y="1900505"/>
          <a:ext cx="5883448" cy="370840"/>
        </p:xfrm>
        <a:graphic>
          <a:graphicData uri="http://schemas.openxmlformats.org/drawingml/2006/table">
            <a:tbl>
              <a:tblPr firstRow="1" bandRow="1">
                <a:tableStyleId>{5C22544A-7EE6-4342-B048-85BDC9FD1C3A}</a:tableStyleId>
              </a:tblPr>
              <a:tblGrid>
                <a:gridCol w="5883448">
                  <a:extLst>
                    <a:ext uri="{9D8B030D-6E8A-4147-A177-3AD203B41FA5}">
                      <a16:colId xmlns:a16="http://schemas.microsoft.com/office/drawing/2014/main" val="3970832842"/>
                    </a:ext>
                  </a:extLst>
                </a:gridCol>
              </a:tblGrid>
              <a:tr h="370840">
                <a:tc>
                  <a:txBody>
                    <a:bodyPr/>
                    <a:lstStyle/>
                    <a:p>
                      <a:pPr algn="ctr"/>
                      <a:r>
                        <a:rPr lang="en-CA" dirty="0"/>
                        <a:t>Key Industry Foru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0321778"/>
                  </a:ext>
                </a:extLst>
              </a:tr>
            </a:tbl>
          </a:graphicData>
        </a:graphic>
      </p:graphicFrame>
      <p:sp>
        <p:nvSpPr>
          <p:cNvPr id="31" name="TextBox 30">
            <a:extLst>
              <a:ext uri="{FF2B5EF4-FFF2-40B4-BE49-F238E27FC236}">
                <a16:creationId xmlns:a16="http://schemas.microsoft.com/office/drawing/2014/main" id="{BD71FBE1-87F4-7EF4-907E-434C8137CA2E}"/>
              </a:ext>
            </a:extLst>
          </p:cNvPr>
          <p:cNvSpPr txBox="1"/>
          <p:nvPr/>
        </p:nvSpPr>
        <p:spPr>
          <a:xfrm>
            <a:off x="418602" y="3059953"/>
            <a:ext cx="2664296" cy="456792"/>
          </a:xfrm>
          <a:prstGeom prst="rect">
            <a:avLst/>
          </a:prstGeom>
        </p:spPr>
        <p:txBody>
          <a:bodyPr wrap="square" rtlCol="0" anchor="ctr">
            <a:spAutoFit/>
          </a:bodyPr>
          <a:lstStyle/>
          <a:p>
            <a:pPr marL="0" indent="0" algn="ctr">
              <a:lnSpc>
                <a:spcPts val="1780"/>
              </a:lnSpc>
              <a:buNone/>
            </a:pPr>
            <a:r>
              <a:rPr lang="en-CA" sz="6000" b="1" kern="100" spc="-20" dirty="0">
                <a:solidFill>
                  <a:schemeClr val="accent1"/>
                </a:solidFill>
              </a:rPr>
              <a:t>47</a:t>
            </a:r>
          </a:p>
        </p:txBody>
      </p:sp>
      <p:sp>
        <p:nvSpPr>
          <p:cNvPr id="32" name="TextBox 31">
            <a:extLst>
              <a:ext uri="{FF2B5EF4-FFF2-40B4-BE49-F238E27FC236}">
                <a16:creationId xmlns:a16="http://schemas.microsoft.com/office/drawing/2014/main" id="{6BEFFB48-C761-2CEE-C1E6-F4FB815C80AB}"/>
              </a:ext>
            </a:extLst>
          </p:cNvPr>
          <p:cNvSpPr txBox="1"/>
          <p:nvPr/>
        </p:nvSpPr>
        <p:spPr>
          <a:xfrm>
            <a:off x="119336" y="4227793"/>
            <a:ext cx="2664296" cy="456792"/>
          </a:xfrm>
          <a:prstGeom prst="rect">
            <a:avLst/>
          </a:prstGeom>
        </p:spPr>
        <p:txBody>
          <a:bodyPr wrap="square" rtlCol="0" anchor="ctr">
            <a:spAutoFit/>
          </a:bodyPr>
          <a:lstStyle/>
          <a:p>
            <a:pPr marL="0" indent="0" algn="ctr">
              <a:lnSpc>
                <a:spcPts val="1780"/>
              </a:lnSpc>
              <a:buNone/>
            </a:pPr>
            <a:r>
              <a:rPr lang="en-CA" sz="6000" b="1" kern="100" spc="-20" dirty="0">
                <a:solidFill>
                  <a:schemeClr val="accent1"/>
                </a:solidFill>
              </a:rPr>
              <a:t>239</a:t>
            </a:r>
          </a:p>
        </p:txBody>
      </p:sp>
      <p:sp>
        <p:nvSpPr>
          <p:cNvPr id="33" name="TextBox 32">
            <a:extLst>
              <a:ext uri="{FF2B5EF4-FFF2-40B4-BE49-F238E27FC236}">
                <a16:creationId xmlns:a16="http://schemas.microsoft.com/office/drawing/2014/main" id="{C01BA72D-4FB2-E92C-EBCC-DF4F815AED0F}"/>
              </a:ext>
            </a:extLst>
          </p:cNvPr>
          <p:cNvSpPr txBox="1"/>
          <p:nvPr/>
        </p:nvSpPr>
        <p:spPr>
          <a:xfrm>
            <a:off x="73188" y="5483357"/>
            <a:ext cx="2664296" cy="456792"/>
          </a:xfrm>
          <a:prstGeom prst="rect">
            <a:avLst/>
          </a:prstGeom>
        </p:spPr>
        <p:txBody>
          <a:bodyPr wrap="square" rtlCol="0" anchor="ctr">
            <a:spAutoFit/>
          </a:bodyPr>
          <a:lstStyle/>
          <a:p>
            <a:pPr marL="0" indent="0" algn="ctr">
              <a:lnSpc>
                <a:spcPts val="1780"/>
              </a:lnSpc>
              <a:buNone/>
            </a:pPr>
            <a:r>
              <a:rPr lang="en-CA" sz="6000" b="1" kern="100" spc="-20" dirty="0">
                <a:solidFill>
                  <a:schemeClr val="accent1"/>
                </a:solidFill>
              </a:rPr>
              <a:t>65%</a:t>
            </a:r>
          </a:p>
        </p:txBody>
      </p:sp>
      <p:sp>
        <p:nvSpPr>
          <p:cNvPr id="34" name="TextBox 33">
            <a:extLst>
              <a:ext uri="{FF2B5EF4-FFF2-40B4-BE49-F238E27FC236}">
                <a16:creationId xmlns:a16="http://schemas.microsoft.com/office/drawing/2014/main" id="{1999F173-D1A6-30EF-6790-5EE467E6835C}"/>
              </a:ext>
            </a:extLst>
          </p:cNvPr>
          <p:cNvSpPr txBox="1"/>
          <p:nvPr/>
        </p:nvSpPr>
        <p:spPr>
          <a:xfrm>
            <a:off x="2288461" y="2926403"/>
            <a:ext cx="3312366" cy="323165"/>
          </a:xfrm>
          <a:prstGeom prst="rect">
            <a:avLst/>
          </a:prstGeom>
        </p:spPr>
        <p:txBody>
          <a:bodyPr wrap="square" rtlCol="0">
            <a:spAutoFit/>
          </a:bodyPr>
          <a:lstStyle/>
          <a:p>
            <a:pPr marL="0" indent="0">
              <a:lnSpc>
                <a:spcPts val="1780"/>
              </a:lnSpc>
              <a:buNone/>
            </a:pPr>
            <a:r>
              <a:rPr lang="en-CA" kern="100" spc="-20" dirty="0"/>
              <a:t>Mobile Operator Groups</a:t>
            </a:r>
          </a:p>
        </p:txBody>
      </p:sp>
      <p:sp>
        <p:nvSpPr>
          <p:cNvPr id="35" name="TextBox 34">
            <a:extLst>
              <a:ext uri="{FF2B5EF4-FFF2-40B4-BE49-F238E27FC236}">
                <a16:creationId xmlns:a16="http://schemas.microsoft.com/office/drawing/2014/main" id="{F169095C-5B11-98A1-987F-8377B04814B3}"/>
              </a:ext>
            </a:extLst>
          </p:cNvPr>
          <p:cNvSpPr txBox="1"/>
          <p:nvPr/>
        </p:nvSpPr>
        <p:spPr>
          <a:xfrm>
            <a:off x="2353564" y="4096579"/>
            <a:ext cx="3312366" cy="323165"/>
          </a:xfrm>
          <a:prstGeom prst="rect">
            <a:avLst/>
          </a:prstGeom>
        </p:spPr>
        <p:txBody>
          <a:bodyPr wrap="square" rtlCol="0">
            <a:spAutoFit/>
          </a:bodyPr>
          <a:lstStyle/>
          <a:p>
            <a:pPr marL="0" indent="0">
              <a:lnSpc>
                <a:spcPts val="1780"/>
              </a:lnSpc>
              <a:buNone/>
            </a:pPr>
            <a:r>
              <a:rPr lang="en-CA" kern="100" spc="-20" dirty="0"/>
              <a:t>Mobile Networks </a:t>
            </a:r>
          </a:p>
        </p:txBody>
      </p:sp>
      <p:sp>
        <p:nvSpPr>
          <p:cNvPr id="36" name="TextBox 35">
            <a:extLst>
              <a:ext uri="{FF2B5EF4-FFF2-40B4-BE49-F238E27FC236}">
                <a16:creationId xmlns:a16="http://schemas.microsoft.com/office/drawing/2014/main" id="{DAA46259-2B2B-2B9D-E3F3-322D8744EE03}"/>
              </a:ext>
            </a:extLst>
          </p:cNvPr>
          <p:cNvSpPr txBox="1"/>
          <p:nvPr/>
        </p:nvSpPr>
        <p:spPr>
          <a:xfrm>
            <a:off x="2304474" y="5352881"/>
            <a:ext cx="3312366" cy="323165"/>
          </a:xfrm>
          <a:prstGeom prst="rect">
            <a:avLst/>
          </a:prstGeom>
        </p:spPr>
        <p:txBody>
          <a:bodyPr wrap="square" rtlCol="0">
            <a:spAutoFit/>
          </a:bodyPr>
          <a:lstStyle/>
          <a:p>
            <a:pPr marL="0" indent="0">
              <a:lnSpc>
                <a:spcPts val="1780"/>
              </a:lnSpc>
              <a:buNone/>
            </a:pPr>
            <a:r>
              <a:rPr lang="en-CA" kern="100" spc="-20" dirty="0"/>
              <a:t>Connections around the world</a:t>
            </a:r>
          </a:p>
        </p:txBody>
      </p:sp>
      <p:graphicFrame>
        <p:nvGraphicFramePr>
          <p:cNvPr id="37" name="Table 25">
            <a:extLst>
              <a:ext uri="{FF2B5EF4-FFF2-40B4-BE49-F238E27FC236}">
                <a16:creationId xmlns:a16="http://schemas.microsoft.com/office/drawing/2014/main" id="{A76ED168-F6D5-B0C6-01C9-DBC800DC8845}"/>
              </a:ext>
            </a:extLst>
          </p:cNvPr>
          <p:cNvGraphicFramePr>
            <a:graphicFrameLocks noGrp="1"/>
          </p:cNvGraphicFramePr>
          <p:nvPr/>
        </p:nvGraphicFramePr>
        <p:xfrm>
          <a:off x="414570" y="1900505"/>
          <a:ext cx="5336656" cy="370840"/>
        </p:xfrm>
        <a:graphic>
          <a:graphicData uri="http://schemas.openxmlformats.org/drawingml/2006/table">
            <a:tbl>
              <a:tblPr firstRow="1" bandRow="1">
                <a:tableStyleId>{5C22544A-7EE6-4342-B048-85BDC9FD1C3A}</a:tableStyleId>
              </a:tblPr>
              <a:tblGrid>
                <a:gridCol w="5336656">
                  <a:extLst>
                    <a:ext uri="{9D8B030D-6E8A-4147-A177-3AD203B41FA5}">
                      <a16:colId xmlns:a16="http://schemas.microsoft.com/office/drawing/2014/main" val="3970832842"/>
                    </a:ext>
                  </a:extLst>
                </a:gridCol>
              </a:tblGrid>
              <a:tr h="370840">
                <a:tc>
                  <a:txBody>
                    <a:bodyPr/>
                    <a:lstStyle/>
                    <a:p>
                      <a:pPr algn="ctr"/>
                      <a:r>
                        <a:rPr lang="en-CA" dirty="0"/>
                        <a:t>GSMA Open Gateway Footpri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0321778"/>
                  </a:ext>
                </a:extLst>
              </a:tr>
            </a:tbl>
          </a:graphicData>
        </a:graphic>
      </p:graphicFrame>
      <p:sp>
        <p:nvSpPr>
          <p:cNvPr id="38" name="Rectangle 37">
            <a:extLst>
              <a:ext uri="{FF2B5EF4-FFF2-40B4-BE49-F238E27FC236}">
                <a16:creationId xmlns:a16="http://schemas.microsoft.com/office/drawing/2014/main" id="{7F27A2F9-174D-1DCE-1C2D-89F9BCBABA42}"/>
              </a:ext>
            </a:extLst>
          </p:cNvPr>
          <p:cNvSpPr/>
          <p:nvPr/>
        </p:nvSpPr>
        <p:spPr>
          <a:xfrm>
            <a:off x="5887177" y="2316093"/>
            <a:ext cx="5883447" cy="15556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9" name="Rectangle 38">
            <a:extLst>
              <a:ext uri="{FF2B5EF4-FFF2-40B4-BE49-F238E27FC236}">
                <a16:creationId xmlns:a16="http://schemas.microsoft.com/office/drawing/2014/main" id="{1E73F144-DA99-99E3-CB4D-6B17EC294F9E}"/>
              </a:ext>
            </a:extLst>
          </p:cNvPr>
          <p:cNvSpPr/>
          <p:nvPr/>
        </p:nvSpPr>
        <p:spPr>
          <a:xfrm>
            <a:off x="5887178" y="4005064"/>
            <a:ext cx="2859110" cy="216254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0" name="Rectangle 39">
            <a:extLst>
              <a:ext uri="{FF2B5EF4-FFF2-40B4-BE49-F238E27FC236}">
                <a16:creationId xmlns:a16="http://schemas.microsoft.com/office/drawing/2014/main" id="{2A3A8D8F-4165-6B80-3818-1308D463C1DE}"/>
              </a:ext>
            </a:extLst>
          </p:cNvPr>
          <p:cNvSpPr/>
          <p:nvPr/>
        </p:nvSpPr>
        <p:spPr>
          <a:xfrm>
            <a:off x="8900908" y="4005064"/>
            <a:ext cx="2869715" cy="216254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Rectangle 42">
            <a:extLst>
              <a:ext uri="{FF2B5EF4-FFF2-40B4-BE49-F238E27FC236}">
                <a16:creationId xmlns:a16="http://schemas.microsoft.com/office/drawing/2014/main" id="{D9386515-71BF-2A40-E0F5-766F19FBDF11}"/>
              </a:ext>
            </a:extLst>
          </p:cNvPr>
          <p:cNvSpPr/>
          <p:nvPr/>
        </p:nvSpPr>
        <p:spPr>
          <a:xfrm>
            <a:off x="414571" y="936874"/>
            <a:ext cx="11356052" cy="846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rPr>
              <a:t>What is GSMA Open Gateway? </a:t>
            </a:r>
          </a:p>
          <a:p>
            <a:pPr algn="ctr"/>
            <a:r>
              <a:rPr lang="en-CA" sz="1600" dirty="0">
                <a:solidFill>
                  <a:schemeClr val="tx1"/>
                </a:solidFill>
              </a:rPr>
              <a:t>Framework of common Network APIs designed to provide universal access to operators' networks for developers </a:t>
            </a:r>
          </a:p>
        </p:txBody>
      </p:sp>
      <p:sp>
        <p:nvSpPr>
          <p:cNvPr id="44" name="Rectangle 43">
            <a:extLst>
              <a:ext uri="{FF2B5EF4-FFF2-40B4-BE49-F238E27FC236}">
                <a16:creationId xmlns:a16="http://schemas.microsoft.com/office/drawing/2014/main" id="{76A90D2A-EF66-61D2-7EF0-4A34ED06AFB4}"/>
              </a:ext>
            </a:extLst>
          </p:cNvPr>
          <p:cNvSpPr/>
          <p:nvPr/>
        </p:nvSpPr>
        <p:spPr>
          <a:xfrm>
            <a:off x="421376" y="2316093"/>
            <a:ext cx="5329850" cy="38515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234764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2422F-4371-710C-A51F-87608B90214F}"/>
              </a:ext>
            </a:extLst>
          </p:cNvPr>
          <p:cNvSpPr>
            <a:spLocks noGrp="1"/>
          </p:cNvSpPr>
          <p:nvPr>
            <p:ph type="title"/>
          </p:nvPr>
        </p:nvSpPr>
        <p:spPr/>
        <p:txBody>
          <a:bodyPr/>
          <a:lstStyle/>
          <a:p>
            <a:r>
              <a:rPr lang="en-US">
                <a:latin typeface="Ted Next"/>
              </a:rPr>
              <a:t>Rogers RAPID ROADMAP</a:t>
            </a:r>
            <a:endParaRPr lang="en-US"/>
          </a:p>
        </p:txBody>
      </p:sp>
      <p:sp>
        <p:nvSpPr>
          <p:cNvPr id="4" name="Slide Number Placeholder 3">
            <a:extLst>
              <a:ext uri="{FF2B5EF4-FFF2-40B4-BE49-F238E27FC236}">
                <a16:creationId xmlns:a16="http://schemas.microsoft.com/office/drawing/2014/main" id="{519F1AC4-57AF-731F-B2A0-A848387F64EE}"/>
              </a:ext>
            </a:extLst>
          </p:cNvPr>
          <p:cNvSpPr>
            <a:spLocks noGrp="1"/>
          </p:cNvSpPr>
          <p:nvPr>
            <p:ph type="sldNum" sz="quarter" idx="12"/>
          </p:nvPr>
        </p:nvSpPr>
        <p:spPr/>
        <p:txBody>
          <a:bodyPr/>
          <a:lstStyle/>
          <a:p>
            <a:fld id="{37FA3778-6BAA-AD46-B30E-6B3D07CF735F}" type="slidenum">
              <a:rPr lang="en-US" smtClean="0"/>
              <a:t>5</a:t>
            </a:fld>
            <a:endParaRPr lang="en-US"/>
          </a:p>
        </p:txBody>
      </p:sp>
      <p:pic>
        <p:nvPicPr>
          <p:cNvPr id="21" name="Picture 20" descr="A screenshot of a computer&#10;&#10;Description automatically generated">
            <a:extLst>
              <a:ext uri="{FF2B5EF4-FFF2-40B4-BE49-F238E27FC236}">
                <a16:creationId xmlns:a16="http://schemas.microsoft.com/office/drawing/2014/main" id="{ED23B549-8DE8-AFBB-DC44-03B4E5FC5592}"/>
              </a:ext>
            </a:extLst>
          </p:cNvPr>
          <p:cNvPicPr>
            <a:picLocks noChangeAspect="1"/>
          </p:cNvPicPr>
          <p:nvPr/>
        </p:nvPicPr>
        <p:blipFill>
          <a:blip r:embed="rId2"/>
          <a:stretch>
            <a:fillRect/>
          </a:stretch>
        </p:blipFill>
        <p:spPr>
          <a:xfrm>
            <a:off x="595073" y="0"/>
            <a:ext cx="11001853" cy="6858000"/>
          </a:xfrm>
          <a:prstGeom prst="rect">
            <a:avLst/>
          </a:prstGeom>
        </p:spPr>
      </p:pic>
    </p:spTree>
    <p:extLst>
      <p:ext uri="{BB962C8B-B14F-4D97-AF65-F5344CB8AC3E}">
        <p14:creationId xmlns:p14="http://schemas.microsoft.com/office/powerpoint/2010/main" val="25300141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6E212F-797D-FC2F-0E88-AFE29D48445D}"/>
              </a:ext>
            </a:extLst>
          </p:cNvPr>
          <p:cNvSpPr>
            <a:spLocks noGrp="1"/>
          </p:cNvSpPr>
          <p:nvPr>
            <p:ph type="title"/>
          </p:nvPr>
        </p:nvSpPr>
        <p:spPr/>
        <p:txBody>
          <a:bodyPr>
            <a:normAutofit/>
          </a:bodyPr>
          <a:lstStyle/>
          <a:p>
            <a:r>
              <a:rPr lang="en-CA" dirty="0"/>
              <a:t>Microsoft Azure Programable Connectivity (APC)</a:t>
            </a:r>
          </a:p>
        </p:txBody>
      </p:sp>
      <p:pic>
        <p:nvPicPr>
          <p:cNvPr id="3" name="Picture 2" descr="A screenshot of a computer application&#10;&#10;Description automatically generated">
            <a:extLst>
              <a:ext uri="{FF2B5EF4-FFF2-40B4-BE49-F238E27FC236}">
                <a16:creationId xmlns:a16="http://schemas.microsoft.com/office/drawing/2014/main" id="{B5D557D6-3F29-734C-7803-2627289AC76B}"/>
              </a:ext>
            </a:extLst>
          </p:cNvPr>
          <p:cNvPicPr>
            <a:picLocks noChangeAspect="1"/>
          </p:cNvPicPr>
          <p:nvPr/>
        </p:nvPicPr>
        <p:blipFill>
          <a:blip r:embed="rId3"/>
          <a:stretch>
            <a:fillRect/>
          </a:stretch>
        </p:blipFill>
        <p:spPr>
          <a:xfrm>
            <a:off x="2209800" y="1105937"/>
            <a:ext cx="7772400" cy="4646125"/>
          </a:xfrm>
          <a:prstGeom prst="rect">
            <a:avLst/>
          </a:prstGeom>
        </p:spPr>
      </p:pic>
    </p:spTree>
    <p:extLst>
      <p:ext uri="{BB962C8B-B14F-4D97-AF65-F5344CB8AC3E}">
        <p14:creationId xmlns:p14="http://schemas.microsoft.com/office/powerpoint/2010/main" val="3343597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CFDA8-CE59-9F3C-2FEA-D196D8F5A078}"/>
              </a:ext>
            </a:extLst>
          </p:cNvPr>
          <p:cNvSpPr>
            <a:spLocks noGrp="1"/>
          </p:cNvSpPr>
          <p:nvPr>
            <p:ph type="title"/>
          </p:nvPr>
        </p:nvSpPr>
        <p:spPr/>
        <p:txBody>
          <a:bodyPr/>
          <a:lstStyle/>
          <a:p>
            <a:r>
              <a:rPr lang="en-US">
                <a:latin typeface="Ted Next"/>
              </a:rPr>
              <a:t>GSMA Camara Standardized API List</a:t>
            </a:r>
          </a:p>
        </p:txBody>
      </p:sp>
      <p:sp>
        <p:nvSpPr>
          <p:cNvPr id="4" name="Slide Number Placeholder 3">
            <a:extLst>
              <a:ext uri="{FF2B5EF4-FFF2-40B4-BE49-F238E27FC236}">
                <a16:creationId xmlns:a16="http://schemas.microsoft.com/office/drawing/2014/main" id="{6BE0D783-1C6E-2DC0-D461-4C8EF3476CCE}"/>
              </a:ext>
            </a:extLst>
          </p:cNvPr>
          <p:cNvSpPr>
            <a:spLocks noGrp="1"/>
          </p:cNvSpPr>
          <p:nvPr>
            <p:ph type="sldNum" sz="quarter" idx="12"/>
          </p:nvPr>
        </p:nvSpPr>
        <p:spPr/>
        <p:txBody>
          <a:bodyPr/>
          <a:lstStyle/>
          <a:p>
            <a:fld id="{37FA3778-6BAA-AD46-B30E-6B3D07CF735F}" type="slidenum">
              <a:rPr lang="en-US" smtClean="0"/>
              <a:t>7</a:t>
            </a:fld>
            <a:endParaRPr lang="en-US"/>
          </a:p>
        </p:txBody>
      </p:sp>
      <p:graphicFrame>
        <p:nvGraphicFramePr>
          <p:cNvPr id="6" name="Table 9">
            <a:extLst>
              <a:ext uri="{FF2B5EF4-FFF2-40B4-BE49-F238E27FC236}">
                <a16:creationId xmlns:a16="http://schemas.microsoft.com/office/drawing/2014/main" id="{26E5FAA5-E00A-C071-7BF5-625DA97B5BE5}"/>
              </a:ext>
            </a:extLst>
          </p:cNvPr>
          <p:cNvGraphicFramePr>
            <a:graphicFrameLocks noGrp="1"/>
          </p:cNvGraphicFramePr>
          <p:nvPr/>
        </p:nvGraphicFramePr>
        <p:xfrm>
          <a:off x="191345" y="910448"/>
          <a:ext cx="11809310" cy="5766656"/>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1807021929"/>
                    </a:ext>
                  </a:extLst>
                </a:gridCol>
                <a:gridCol w="1872208">
                  <a:extLst>
                    <a:ext uri="{9D8B030D-6E8A-4147-A177-3AD203B41FA5}">
                      <a16:colId xmlns:a16="http://schemas.microsoft.com/office/drawing/2014/main" val="3191365321"/>
                    </a:ext>
                  </a:extLst>
                </a:gridCol>
                <a:gridCol w="1680186">
                  <a:extLst>
                    <a:ext uri="{9D8B030D-6E8A-4147-A177-3AD203B41FA5}">
                      <a16:colId xmlns:a16="http://schemas.microsoft.com/office/drawing/2014/main" val="3903927124"/>
                    </a:ext>
                  </a:extLst>
                </a:gridCol>
                <a:gridCol w="1776197">
                  <a:extLst>
                    <a:ext uri="{9D8B030D-6E8A-4147-A177-3AD203B41FA5}">
                      <a16:colId xmlns:a16="http://schemas.microsoft.com/office/drawing/2014/main" val="3057530654"/>
                    </a:ext>
                  </a:extLst>
                </a:gridCol>
                <a:gridCol w="1776197">
                  <a:extLst>
                    <a:ext uri="{9D8B030D-6E8A-4147-A177-3AD203B41FA5}">
                      <a16:colId xmlns:a16="http://schemas.microsoft.com/office/drawing/2014/main" val="2829981259"/>
                    </a:ext>
                  </a:extLst>
                </a:gridCol>
                <a:gridCol w="1776197">
                  <a:extLst>
                    <a:ext uri="{9D8B030D-6E8A-4147-A177-3AD203B41FA5}">
                      <a16:colId xmlns:a16="http://schemas.microsoft.com/office/drawing/2014/main" val="288641372"/>
                    </a:ext>
                  </a:extLst>
                </a:gridCol>
                <a:gridCol w="1776197">
                  <a:extLst>
                    <a:ext uri="{9D8B030D-6E8A-4147-A177-3AD203B41FA5}">
                      <a16:colId xmlns:a16="http://schemas.microsoft.com/office/drawing/2014/main" val="3770955164"/>
                    </a:ext>
                  </a:extLst>
                </a:gridCol>
              </a:tblGrid>
              <a:tr h="505572">
                <a:tc>
                  <a:txBody>
                    <a:bodyPr/>
                    <a:lstStyle/>
                    <a:p>
                      <a:pPr algn="ctr"/>
                      <a:r>
                        <a:rPr lang="en-CA" sz="1400"/>
                        <a:t>API Portfol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CA" sz="1400"/>
                        <a:t>Anti-Frau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gridSpan="2">
                  <a:txBody>
                    <a:bodyPr/>
                    <a:lstStyle/>
                    <a:p>
                      <a:pPr algn="ctr"/>
                      <a:r>
                        <a:rPr lang="en-CA" sz="1400"/>
                        <a:t>Mobile Connectivity/Value-Added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CA"/>
                    </a:p>
                  </a:txBody>
                  <a:tcPr>
                    <a:lnL w="12700" cap="flat" cmpd="sng" algn="ctr">
                      <a:solidFill>
                        <a:schemeClr val="tx1"/>
                      </a:solidFill>
                      <a:prstDash val="solid"/>
                      <a:round/>
                      <a:headEnd type="none" w="med" len="med"/>
                      <a:tailEnd type="none" w="med" len="med"/>
                    </a:lnL>
                  </a:tcPr>
                </a:tc>
                <a:tc>
                  <a:txBody>
                    <a:bodyPr/>
                    <a:lstStyle/>
                    <a:p>
                      <a:pPr algn="ctr"/>
                      <a:r>
                        <a:rPr lang="en-CA" sz="1400"/>
                        <a:t>Fixed Connectiv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CA" sz="1400"/>
                        <a:t>Cloud &amp; Ed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CA" sz="1400"/>
                        <a:t>Pay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941508888"/>
                  </a:ext>
                </a:extLst>
              </a:tr>
              <a:tr h="454033">
                <a:tc>
                  <a:txBody>
                    <a:bodyPr/>
                    <a:lstStyle/>
                    <a:p>
                      <a:pPr algn="ctr"/>
                      <a:r>
                        <a:rPr lang="en-CA" sz="1000" b="1"/>
                        <a:t>API Product 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Subscriber Ident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Lo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Network Quality/Optim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Network Quality/Optim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M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CA" sz="1000" b="1"/>
                        <a:t>Payment and Charg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41168637"/>
                  </a:ext>
                </a:extLst>
              </a:tr>
              <a:tr h="654270">
                <a:tc rowSpan="8">
                  <a:txBody>
                    <a:bodyPr/>
                    <a:lstStyle/>
                    <a:p>
                      <a:pPr algn="ctr"/>
                      <a:r>
                        <a:rPr lang="en-CA" sz="1000" b="1"/>
                        <a:t>CAMARA AP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Device Status</a:t>
                      </a:r>
                    </a:p>
                    <a:p>
                      <a:pPr algn="ctr"/>
                      <a:r>
                        <a:rPr lang="en-CA" sz="900"/>
                        <a:t>Check connectivity status of 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solidFill>
                            <a:schemeClr val="accent2"/>
                          </a:solidFill>
                        </a:rPr>
                        <a:t>Device Location Verification</a:t>
                      </a:r>
                    </a:p>
                    <a:p>
                      <a:pPr algn="ctr"/>
                      <a:r>
                        <a:rPr lang="en-CA" sz="900" b="0">
                          <a:solidFill>
                            <a:schemeClr val="accent2"/>
                          </a:solidFill>
                        </a:rPr>
                        <a:t>UE location check to proximity of a given lo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CA" sz="1000" b="1"/>
                        <a:t>Connectivity Insights</a:t>
                      </a:r>
                    </a:p>
                    <a:p>
                      <a:pPr algn="ctr"/>
                      <a:r>
                        <a:rPr lang="en-CA" sz="900" b="0"/>
                        <a:t>Check if networking requirements are me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Home Device </a:t>
                      </a:r>
                      <a:r>
                        <a:rPr lang="en-CA" sz="1000" b="1" err="1"/>
                        <a:t>QoD</a:t>
                      </a:r>
                      <a:endParaRPr lang="en-CA" sz="1000" b="1"/>
                    </a:p>
                    <a:p>
                      <a:pPr algn="ctr"/>
                      <a:r>
                        <a:rPr lang="en-CA" sz="900" b="0"/>
                        <a:t>Enable configuration to users </a:t>
                      </a:r>
                      <a:r>
                        <a:rPr lang="en-CA" sz="900" b="0" err="1"/>
                        <a:t>WiFi</a:t>
                      </a:r>
                      <a:r>
                        <a:rPr lang="en-CA" sz="900" b="0"/>
                        <a:t> conne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Simple Edge Discovery</a:t>
                      </a:r>
                    </a:p>
                    <a:p>
                      <a:pPr algn="ctr"/>
                      <a:r>
                        <a:rPr lang="en-CA" sz="900"/>
                        <a:t>Enable discovery to closest edge-cloud node to conn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Carrier Billing</a:t>
                      </a:r>
                    </a:p>
                    <a:p>
                      <a:pPr algn="ctr"/>
                      <a:r>
                        <a:rPr lang="en-CA" sz="900" b="0"/>
                        <a:t>Enable purchases to request payment via carrier billing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1410981"/>
                  </a:ext>
                </a:extLst>
              </a:tr>
              <a:tr h="654270">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IMEI Fraud</a:t>
                      </a:r>
                    </a:p>
                    <a:p>
                      <a:pPr algn="ctr"/>
                      <a:r>
                        <a:rPr lang="en-CA" sz="900"/>
                        <a:t>Check if IMEI is blacklis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Geofencing</a:t>
                      </a:r>
                    </a:p>
                    <a:p>
                      <a:pPr algn="ctr"/>
                      <a:r>
                        <a:rPr lang="en-CA" sz="1000" b="0"/>
                        <a:t>Enable changes base on geographic posi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Mobile Quality on Demand</a:t>
                      </a:r>
                    </a:p>
                    <a:p>
                      <a:pPr algn="ctr"/>
                      <a:r>
                        <a:rPr lang="en-CA" sz="900" b="0"/>
                        <a:t>Enable time bounded network configu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7">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Traffic Influence</a:t>
                      </a:r>
                    </a:p>
                    <a:p>
                      <a:pPr algn="ctr"/>
                      <a:r>
                        <a:rPr lang="en-CA" sz="900" b="0"/>
                        <a:t>Geographic Traffic optimization for Edge Application Server </a:t>
                      </a:r>
                      <a:endParaRPr lang="en-CA" sz="8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7">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0283699"/>
                  </a:ext>
                </a:extLst>
              </a:tr>
              <a:tr h="684009">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KYC Fill-in</a:t>
                      </a:r>
                    </a:p>
                    <a:p>
                      <a:pPr algn="ctr"/>
                      <a:r>
                        <a:rPr lang="en-CA" sz="900" b="0"/>
                        <a:t>Pull customer info from operator data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Location retrieval</a:t>
                      </a:r>
                    </a:p>
                    <a:p>
                      <a:pPr algn="ctr"/>
                      <a:r>
                        <a:rPr lang="en-CA" sz="900" b="0"/>
                        <a:t>Retrieve location via Mobile netwo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WebRTC</a:t>
                      </a:r>
                    </a:p>
                    <a:p>
                      <a:pPr algn="ctr"/>
                      <a:r>
                        <a:rPr lang="en-CA" sz="1000" b="0"/>
                        <a:t>Add communications capabilities (video, voice,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6">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168482"/>
                  </a:ext>
                </a:extLst>
              </a:tr>
              <a:tr h="505572">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KYC Match</a:t>
                      </a:r>
                    </a:p>
                    <a:p>
                      <a:pPr algn="ctr"/>
                      <a:r>
                        <a:rPr lang="en-CA" sz="900" b="0"/>
                        <a:t>Check customer info from operator data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endParaRPr lang="en-CA" sz="10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2007771"/>
                  </a:ext>
                </a:extLst>
              </a:tr>
              <a:tr h="505572">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solidFill>
                            <a:schemeClr val="accent2"/>
                          </a:solidFill>
                        </a:rPr>
                        <a:t>Number Verification</a:t>
                      </a:r>
                    </a:p>
                    <a:p>
                      <a:pPr algn="ctr"/>
                      <a:r>
                        <a:rPr lang="en-CA" sz="900" b="0">
                          <a:solidFill>
                            <a:schemeClr val="accent2"/>
                          </a:solidFill>
                        </a:rPr>
                        <a:t>Authentication of UE by Mobile netwo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6114749"/>
                  </a:ext>
                </a:extLst>
              </a:tr>
              <a:tr h="505572">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solidFill>
                            <a:schemeClr val="accent2"/>
                          </a:solidFill>
                        </a:rPr>
                        <a:t>SIM Swap</a:t>
                      </a:r>
                    </a:p>
                    <a:p>
                      <a:pPr algn="ctr"/>
                      <a:r>
                        <a:rPr lang="en-CA" sz="900" b="0">
                          <a:solidFill>
                            <a:schemeClr val="accent2"/>
                          </a:solidFill>
                        </a:rPr>
                        <a:t>Check last time the SIM card has chang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0887221"/>
                  </a:ext>
                </a:extLst>
              </a:tr>
              <a:tr h="630011">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1000" b="1"/>
                        <a:t>One Time Password (SMS)</a:t>
                      </a:r>
                    </a:p>
                    <a:p>
                      <a:pPr algn="ctr"/>
                      <a:r>
                        <a:rPr lang="en-CA" sz="900" b="0"/>
                        <a:t>Send short-lived one time password via S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42038"/>
                  </a:ext>
                </a:extLst>
              </a:tr>
              <a:tr h="630011">
                <a:tc vMerge="1">
                  <a:txBody>
                    <a:bodyPr/>
                    <a:lstStyle/>
                    <a:p>
                      <a:pPr algn="ctr"/>
                      <a:endParaRPr lang="en-CA" sz="10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CA" sz="900" b="1"/>
                        <a:t>Blockchain Public Address</a:t>
                      </a:r>
                    </a:p>
                    <a:p>
                      <a:pPr algn="ctr"/>
                      <a:r>
                        <a:rPr lang="en-CA" sz="900" b="0"/>
                        <a:t>Bind/unbind public addresses</a:t>
                      </a:r>
                    </a:p>
                    <a:p>
                      <a:pPr algn="ctr"/>
                      <a:endParaRPr lang="en-CA" sz="9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CA"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8177885"/>
                  </a:ext>
                </a:extLst>
              </a:tr>
            </a:tbl>
          </a:graphicData>
        </a:graphic>
      </p:graphicFrame>
    </p:spTree>
    <p:extLst>
      <p:ext uri="{BB962C8B-B14F-4D97-AF65-F5344CB8AC3E}">
        <p14:creationId xmlns:p14="http://schemas.microsoft.com/office/powerpoint/2010/main" val="3148313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2422F-4371-710C-A51F-87608B90214F}"/>
              </a:ext>
            </a:extLst>
          </p:cNvPr>
          <p:cNvSpPr>
            <a:spLocks noGrp="1"/>
          </p:cNvSpPr>
          <p:nvPr>
            <p:ph type="title"/>
          </p:nvPr>
        </p:nvSpPr>
        <p:spPr/>
        <p:txBody>
          <a:bodyPr/>
          <a:lstStyle/>
          <a:p>
            <a:r>
              <a:rPr lang="en-US" dirty="0">
                <a:latin typeface="Ted Next"/>
              </a:rPr>
              <a:t>ROADMAP</a:t>
            </a:r>
            <a:endParaRPr lang="en-US" dirty="0"/>
          </a:p>
        </p:txBody>
      </p:sp>
      <p:sp>
        <p:nvSpPr>
          <p:cNvPr id="4" name="Slide Number Placeholder 3">
            <a:extLst>
              <a:ext uri="{FF2B5EF4-FFF2-40B4-BE49-F238E27FC236}">
                <a16:creationId xmlns:a16="http://schemas.microsoft.com/office/drawing/2014/main" id="{519F1AC4-57AF-731F-B2A0-A848387F64EE}"/>
              </a:ext>
            </a:extLst>
          </p:cNvPr>
          <p:cNvSpPr>
            <a:spLocks noGrp="1"/>
          </p:cNvSpPr>
          <p:nvPr>
            <p:ph type="sldNum" sz="quarter" idx="12"/>
          </p:nvPr>
        </p:nvSpPr>
        <p:spPr/>
        <p:txBody>
          <a:bodyPr/>
          <a:lstStyle/>
          <a:p>
            <a:fld id="{37FA3778-6BAA-AD46-B30E-6B3D07CF735F}" type="slidenum">
              <a:rPr lang="en-US" smtClean="0"/>
              <a:t>8</a:t>
            </a:fld>
            <a:endParaRPr lang="en-US"/>
          </a:p>
        </p:txBody>
      </p:sp>
      <p:pic>
        <p:nvPicPr>
          <p:cNvPr id="5" name="Picture 4">
            <a:extLst>
              <a:ext uri="{FF2B5EF4-FFF2-40B4-BE49-F238E27FC236}">
                <a16:creationId xmlns:a16="http://schemas.microsoft.com/office/drawing/2014/main" id="{3C7F48FD-9D34-43EF-FDFF-191AB88DCAE0}"/>
              </a:ext>
            </a:extLst>
          </p:cNvPr>
          <p:cNvPicPr>
            <a:picLocks noChangeAspect="1"/>
          </p:cNvPicPr>
          <p:nvPr/>
        </p:nvPicPr>
        <p:blipFill>
          <a:blip r:embed="rId2"/>
          <a:stretch>
            <a:fillRect/>
          </a:stretch>
        </p:blipFill>
        <p:spPr>
          <a:xfrm>
            <a:off x="2710540" y="398554"/>
            <a:ext cx="7868855" cy="6094321"/>
          </a:xfrm>
          <a:prstGeom prst="rect">
            <a:avLst/>
          </a:prstGeom>
        </p:spPr>
      </p:pic>
    </p:spTree>
    <p:extLst>
      <p:ext uri="{BB962C8B-B14F-4D97-AF65-F5344CB8AC3E}">
        <p14:creationId xmlns:p14="http://schemas.microsoft.com/office/powerpoint/2010/main" val="1166928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person sitting at a table using a computer&#10;&#10;Description automatically generated">
            <a:extLst>
              <a:ext uri="{FF2B5EF4-FFF2-40B4-BE49-F238E27FC236}">
                <a16:creationId xmlns:a16="http://schemas.microsoft.com/office/drawing/2014/main" id="{8A51CB18-70BB-BB5C-0FB8-FC7158A74381}"/>
              </a:ext>
            </a:extLst>
          </p:cNvPr>
          <p:cNvPicPr>
            <a:picLocks noGrp="1" noChangeAspect="1"/>
          </p:cNvPicPr>
          <p:nvPr>
            <p:ph type="pic" sz="quarter" idx="18"/>
          </p:nvPr>
        </p:nvPicPr>
        <p:blipFill>
          <a:blip r:embed="rId2"/>
          <a:srcRect t="4210" b="4210"/>
          <a:stretch>
            <a:fillRect/>
          </a:stretch>
        </p:blipFill>
        <p:spPr>
          <a:xfrm>
            <a:off x="4271736" y="1500040"/>
            <a:ext cx="3424664" cy="1766513"/>
          </a:xfrm>
        </p:spPr>
      </p:pic>
      <p:sp>
        <p:nvSpPr>
          <p:cNvPr id="3" name="Title 2">
            <a:extLst>
              <a:ext uri="{FF2B5EF4-FFF2-40B4-BE49-F238E27FC236}">
                <a16:creationId xmlns:a16="http://schemas.microsoft.com/office/drawing/2014/main" id="{CAA3135B-E83D-16DC-71B2-9EAC6C0266F9}"/>
              </a:ext>
            </a:extLst>
          </p:cNvPr>
          <p:cNvSpPr>
            <a:spLocks noGrp="1"/>
          </p:cNvSpPr>
          <p:nvPr>
            <p:ph type="title"/>
          </p:nvPr>
        </p:nvSpPr>
        <p:spPr/>
        <p:txBody>
          <a:bodyPr>
            <a:normAutofit/>
          </a:bodyPr>
          <a:lstStyle/>
          <a:p>
            <a:r>
              <a:rPr lang="en-US" dirty="0">
                <a:latin typeface="Ted Next"/>
              </a:rPr>
              <a:t>Rogers CAMARA Channels</a:t>
            </a:r>
          </a:p>
        </p:txBody>
      </p:sp>
      <p:sp>
        <p:nvSpPr>
          <p:cNvPr id="4" name="Slide Number Placeholder 3">
            <a:extLst>
              <a:ext uri="{FF2B5EF4-FFF2-40B4-BE49-F238E27FC236}">
                <a16:creationId xmlns:a16="http://schemas.microsoft.com/office/drawing/2014/main" id="{BDAD98E7-47D2-B65A-5B36-AD20371446D8}"/>
              </a:ext>
            </a:extLst>
          </p:cNvPr>
          <p:cNvSpPr>
            <a:spLocks noGrp="1"/>
          </p:cNvSpPr>
          <p:nvPr>
            <p:ph type="sldNum" sz="quarter" idx="12"/>
          </p:nvPr>
        </p:nvSpPr>
        <p:spPr>
          <a:xfrm>
            <a:off x="601663" y="6811506"/>
            <a:ext cx="594620" cy="184666"/>
          </a:xfrm>
        </p:spPr>
        <p:txBody>
          <a:bodyPr/>
          <a:lstStyle/>
          <a:p>
            <a:fld id="{37FA3778-6BAA-AD46-B30E-6B3D07CF735F}" type="slidenum">
              <a:rPr lang="en-US" smtClean="0"/>
              <a:t>9</a:t>
            </a:fld>
            <a:endParaRPr lang="en-US"/>
          </a:p>
        </p:txBody>
      </p:sp>
      <p:sp>
        <p:nvSpPr>
          <p:cNvPr id="6" name="Text Placeholder 5">
            <a:extLst>
              <a:ext uri="{FF2B5EF4-FFF2-40B4-BE49-F238E27FC236}">
                <a16:creationId xmlns:a16="http://schemas.microsoft.com/office/drawing/2014/main" id="{A43984B6-DB99-69A6-9160-E2AD96833110}"/>
              </a:ext>
            </a:extLst>
          </p:cNvPr>
          <p:cNvSpPr>
            <a:spLocks noGrp="1"/>
          </p:cNvSpPr>
          <p:nvPr>
            <p:ph type="body" sz="quarter" idx="21"/>
          </p:nvPr>
        </p:nvSpPr>
        <p:spPr>
          <a:xfrm>
            <a:off x="4271736" y="3379817"/>
            <a:ext cx="3424665" cy="357659"/>
          </a:xfrm>
        </p:spPr>
        <p:txBody>
          <a:bodyPr/>
          <a:lstStyle/>
          <a:p>
            <a:r>
              <a:rPr lang="en-US"/>
              <a:t>Start-Up/SME</a:t>
            </a:r>
          </a:p>
        </p:txBody>
      </p:sp>
      <p:pic>
        <p:nvPicPr>
          <p:cNvPr id="15" name="Picture Placeholder 14" descr="A container ship in a port&#10;&#10;Description automatically generated">
            <a:extLst>
              <a:ext uri="{FF2B5EF4-FFF2-40B4-BE49-F238E27FC236}">
                <a16:creationId xmlns:a16="http://schemas.microsoft.com/office/drawing/2014/main" id="{241AFA8A-A5B0-2F36-A87D-DF5BAF82E396}"/>
              </a:ext>
            </a:extLst>
          </p:cNvPr>
          <p:cNvPicPr>
            <a:picLocks noGrp="1" noChangeAspect="1"/>
          </p:cNvPicPr>
          <p:nvPr>
            <p:ph type="pic" sz="quarter" idx="25"/>
          </p:nvPr>
        </p:nvPicPr>
        <p:blipFill>
          <a:blip r:embed="rId3"/>
          <a:srcRect t="10308" b="10308"/>
          <a:stretch>
            <a:fillRect/>
          </a:stretch>
        </p:blipFill>
        <p:spPr>
          <a:xfrm>
            <a:off x="8178130" y="1500040"/>
            <a:ext cx="3424664" cy="1766513"/>
          </a:xfrm>
        </p:spPr>
      </p:pic>
      <p:sp>
        <p:nvSpPr>
          <p:cNvPr id="10" name="Text Placeholder 9">
            <a:extLst>
              <a:ext uri="{FF2B5EF4-FFF2-40B4-BE49-F238E27FC236}">
                <a16:creationId xmlns:a16="http://schemas.microsoft.com/office/drawing/2014/main" id="{0560157F-6F34-8A73-D9C0-4BFE93DFAF01}"/>
              </a:ext>
            </a:extLst>
          </p:cNvPr>
          <p:cNvSpPr>
            <a:spLocks noGrp="1"/>
          </p:cNvSpPr>
          <p:nvPr>
            <p:ph type="body" sz="quarter" idx="27"/>
          </p:nvPr>
        </p:nvSpPr>
        <p:spPr>
          <a:xfrm>
            <a:off x="8178130" y="3379817"/>
            <a:ext cx="3424665" cy="357659"/>
          </a:xfrm>
        </p:spPr>
        <p:txBody>
          <a:bodyPr/>
          <a:lstStyle/>
          <a:p>
            <a:r>
              <a:rPr lang="en-US"/>
              <a:t>Industry (Proprietary) </a:t>
            </a:r>
          </a:p>
        </p:txBody>
      </p:sp>
      <p:sp>
        <p:nvSpPr>
          <p:cNvPr id="11" name="Text Placeholder 10">
            <a:extLst>
              <a:ext uri="{FF2B5EF4-FFF2-40B4-BE49-F238E27FC236}">
                <a16:creationId xmlns:a16="http://schemas.microsoft.com/office/drawing/2014/main" id="{F768C971-2159-5224-65CD-5592F157C42F}"/>
              </a:ext>
            </a:extLst>
          </p:cNvPr>
          <p:cNvSpPr>
            <a:spLocks noGrp="1"/>
          </p:cNvSpPr>
          <p:nvPr>
            <p:ph type="body" sz="quarter" idx="20"/>
          </p:nvPr>
        </p:nvSpPr>
        <p:spPr>
          <a:xfrm>
            <a:off x="4271737" y="3802698"/>
            <a:ext cx="3424661" cy="2146530"/>
          </a:xfrm>
        </p:spPr>
        <p:txBody>
          <a:bodyPr/>
          <a:lstStyle/>
          <a:p>
            <a:r>
              <a:rPr lang="en-US" dirty="0"/>
              <a:t>B2B2C model </a:t>
            </a:r>
          </a:p>
          <a:p>
            <a:r>
              <a:rPr lang="en-US" dirty="0"/>
              <a:t>Anti-fraud and identity use cases (primary focus on standardized CAMARA APIs) </a:t>
            </a:r>
          </a:p>
          <a:p>
            <a:r>
              <a:rPr lang="en-US" dirty="0"/>
              <a:t>Available through API marketplaces and aggregator</a:t>
            </a:r>
          </a:p>
        </p:txBody>
      </p:sp>
      <p:sp>
        <p:nvSpPr>
          <p:cNvPr id="13" name="Text Placeholder 12">
            <a:extLst>
              <a:ext uri="{FF2B5EF4-FFF2-40B4-BE49-F238E27FC236}">
                <a16:creationId xmlns:a16="http://schemas.microsoft.com/office/drawing/2014/main" id="{A5E4AE1F-57FD-B4AF-3F5B-43E5E6B1C35D}"/>
              </a:ext>
            </a:extLst>
          </p:cNvPr>
          <p:cNvSpPr>
            <a:spLocks noGrp="1"/>
          </p:cNvSpPr>
          <p:nvPr>
            <p:ph type="body" sz="quarter" idx="29"/>
          </p:nvPr>
        </p:nvSpPr>
        <p:spPr>
          <a:xfrm>
            <a:off x="8178134" y="3802698"/>
            <a:ext cx="3424661" cy="2146530"/>
          </a:xfrm>
        </p:spPr>
        <p:txBody>
          <a:bodyPr/>
          <a:lstStyle/>
          <a:p>
            <a:r>
              <a:rPr lang="en-US" dirty="0"/>
              <a:t>B2B / B2B2B model</a:t>
            </a:r>
          </a:p>
          <a:p>
            <a:r>
              <a:rPr lang="en-US" dirty="0"/>
              <a:t>Network optimization, MEC, connectivity, location and robust anti-fraud and identity use cases</a:t>
            </a:r>
          </a:p>
          <a:p>
            <a:r>
              <a:rPr lang="en-US" dirty="0"/>
              <a:t>Available via Rogers Developer Portal, marketplaces and aggregator sites or via our out-sourced</a:t>
            </a:r>
          </a:p>
        </p:txBody>
      </p:sp>
      <p:sp>
        <p:nvSpPr>
          <p:cNvPr id="24" name="Rounded Rectangle 23">
            <a:extLst>
              <a:ext uri="{FF2B5EF4-FFF2-40B4-BE49-F238E27FC236}">
                <a16:creationId xmlns:a16="http://schemas.microsoft.com/office/drawing/2014/main" id="{4EEC08EC-F214-F94F-098F-DBE42FF18318}"/>
              </a:ext>
            </a:extLst>
          </p:cNvPr>
          <p:cNvSpPr/>
          <p:nvPr/>
        </p:nvSpPr>
        <p:spPr>
          <a:xfrm>
            <a:off x="4436816" y="1661925"/>
            <a:ext cx="1298713" cy="42406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2025+</a:t>
            </a:r>
          </a:p>
        </p:txBody>
      </p:sp>
      <p:sp>
        <p:nvSpPr>
          <p:cNvPr id="26" name="Rounded Rectangle 25">
            <a:extLst>
              <a:ext uri="{FF2B5EF4-FFF2-40B4-BE49-F238E27FC236}">
                <a16:creationId xmlns:a16="http://schemas.microsoft.com/office/drawing/2014/main" id="{2758040C-E601-366A-6D51-EC9042621310}"/>
              </a:ext>
            </a:extLst>
          </p:cNvPr>
          <p:cNvSpPr/>
          <p:nvPr/>
        </p:nvSpPr>
        <p:spPr>
          <a:xfrm>
            <a:off x="8339958" y="1661925"/>
            <a:ext cx="1298713" cy="424069"/>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2026+</a:t>
            </a:r>
          </a:p>
        </p:txBody>
      </p:sp>
      <p:pic>
        <p:nvPicPr>
          <p:cNvPr id="21" name="Picture Placeholder 16" descr="A building with a tall glass wall&#10;&#10;Description automatically generated with medium confidence">
            <a:extLst>
              <a:ext uri="{FF2B5EF4-FFF2-40B4-BE49-F238E27FC236}">
                <a16:creationId xmlns:a16="http://schemas.microsoft.com/office/drawing/2014/main" id="{C85F5FF5-4E7A-F276-ADF7-53A8D29EBC16}"/>
              </a:ext>
            </a:extLst>
          </p:cNvPr>
          <p:cNvPicPr>
            <a:picLocks noGrp="1" noChangeAspect="1"/>
          </p:cNvPicPr>
          <p:nvPr>
            <p:ph type="pic" sz="quarter" idx="22"/>
          </p:nvPr>
        </p:nvPicPr>
        <p:blipFill>
          <a:blip r:embed="rId4"/>
          <a:srcRect t="20916" b="20916"/>
          <a:stretch>
            <a:fillRect/>
          </a:stretch>
        </p:blipFill>
        <p:spPr>
          <a:xfrm>
            <a:off x="413769" y="1500040"/>
            <a:ext cx="3424664" cy="1766513"/>
          </a:xfrm>
        </p:spPr>
      </p:pic>
      <p:sp>
        <p:nvSpPr>
          <p:cNvPr id="22" name="Text Placeholder 7">
            <a:extLst>
              <a:ext uri="{FF2B5EF4-FFF2-40B4-BE49-F238E27FC236}">
                <a16:creationId xmlns:a16="http://schemas.microsoft.com/office/drawing/2014/main" id="{06A13D41-0FDF-186F-94BC-3CDDA06F0966}"/>
              </a:ext>
            </a:extLst>
          </p:cNvPr>
          <p:cNvSpPr>
            <a:spLocks noGrp="1"/>
          </p:cNvSpPr>
          <p:nvPr>
            <p:ph type="body" sz="quarter" idx="24"/>
          </p:nvPr>
        </p:nvSpPr>
        <p:spPr>
          <a:xfrm>
            <a:off x="413769" y="3379817"/>
            <a:ext cx="3424665" cy="357659"/>
          </a:xfrm>
        </p:spPr>
        <p:txBody>
          <a:bodyPr/>
          <a:lstStyle/>
          <a:p>
            <a:r>
              <a:rPr lang="en-US"/>
              <a:t>Enterprise</a:t>
            </a:r>
          </a:p>
        </p:txBody>
      </p:sp>
      <p:sp>
        <p:nvSpPr>
          <p:cNvPr id="23" name="Text Placeholder 11">
            <a:extLst>
              <a:ext uri="{FF2B5EF4-FFF2-40B4-BE49-F238E27FC236}">
                <a16:creationId xmlns:a16="http://schemas.microsoft.com/office/drawing/2014/main" id="{2FA9A6FF-3E71-F10E-B274-B84A41E2B1D1}"/>
              </a:ext>
            </a:extLst>
          </p:cNvPr>
          <p:cNvSpPr>
            <a:spLocks noGrp="1"/>
          </p:cNvSpPr>
          <p:nvPr>
            <p:ph type="body" sz="quarter" idx="28"/>
          </p:nvPr>
        </p:nvSpPr>
        <p:spPr>
          <a:xfrm>
            <a:off x="413773" y="3802698"/>
            <a:ext cx="3424661" cy="2146530"/>
          </a:xfrm>
        </p:spPr>
        <p:txBody>
          <a:bodyPr vert="horz" lIns="0" tIns="0" rIns="0" bIns="0" rtlCol="0" anchor="t">
            <a:noAutofit/>
          </a:bodyPr>
          <a:lstStyle/>
          <a:p>
            <a:r>
              <a:rPr lang="en-US" dirty="0"/>
              <a:t>B2B2C model</a:t>
            </a:r>
          </a:p>
          <a:p>
            <a:r>
              <a:rPr lang="en-US" dirty="0"/>
              <a:t>Anti-fraud and identity use cases</a:t>
            </a:r>
          </a:p>
          <a:p>
            <a:pPr marL="287020"/>
            <a:r>
              <a:rPr lang="en-US" dirty="0"/>
              <a:t>Available through </a:t>
            </a:r>
            <a:r>
              <a:rPr lang="en-US" dirty="0" err="1"/>
              <a:t>EnStream</a:t>
            </a:r>
            <a:endParaRPr lang="en-US" dirty="0"/>
          </a:p>
          <a:p>
            <a:pPr marL="287020"/>
            <a:endParaRPr lang="en-US" dirty="0"/>
          </a:p>
        </p:txBody>
      </p:sp>
      <p:sp>
        <p:nvSpPr>
          <p:cNvPr id="28" name="Rounded Rectangle 27">
            <a:extLst>
              <a:ext uri="{FF2B5EF4-FFF2-40B4-BE49-F238E27FC236}">
                <a16:creationId xmlns:a16="http://schemas.microsoft.com/office/drawing/2014/main" id="{05B50677-DC69-B32F-52DC-36F66D8DE358}"/>
              </a:ext>
            </a:extLst>
          </p:cNvPr>
          <p:cNvSpPr/>
          <p:nvPr/>
        </p:nvSpPr>
        <p:spPr>
          <a:xfrm>
            <a:off x="546926" y="1661331"/>
            <a:ext cx="1298713" cy="424069"/>
          </a:xfrm>
          <a:prstGeom prst="roundRect">
            <a:avLst>
              <a:gd name="adj" fmla="val 50000"/>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ysClr val="windowText" lastClr="000000"/>
                </a:solidFill>
              </a:rPr>
              <a:t>ACTIVE</a:t>
            </a:r>
          </a:p>
        </p:txBody>
      </p:sp>
      <p:pic>
        <p:nvPicPr>
          <p:cNvPr id="2" name="Picture 1">
            <a:extLst>
              <a:ext uri="{FF2B5EF4-FFF2-40B4-BE49-F238E27FC236}">
                <a16:creationId xmlns:a16="http://schemas.microsoft.com/office/drawing/2014/main" id="{7AE74F17-2A5A-7F32-F012-DFF1B6CEE664}"/>
              </a:ext>
            </a:extLst>
          </p:cNvPr>
          <p:cNvPicPr>
            <a:picLocks noChangeAspect="1"/>
          </p:cNvPicPr>
          <p:nvPr/>
        </p:nvPicPr>
        <p:blipFill>
          <a:blip r:embed="rId5"/>
          <a:stretch>
            <a:fillRect/>
          </a:stretch>
        </p:blipFill>
        <p:spPr>
          <a:xfrm>
            <a:off x="1448752" y="2779781"/>
            <a:ext cx="1281638" cy="381876"/>
          </a:xfrm>
          <a:prstGeom prst="rect">
            <a:avLst/>
          </a:prstGeom>
        </p:spPr>
      </p:pic>
      <p:pic>
        <p:nvPicPr>
          <p:cNvPr id="5" name="Picture 4">
            <a:extLst>
              <a:ext uri="{FF2B5EF4-FFF2-40B4-BE49-F238E27FC236}">
                <a16:creationId xmlns:a16="http://schemas.microsoft.com/office/drawing/2014/main" id="{B3E93CE9-C629-A0EB-1C55-58384A6C4A97}"/>
              </a:ext>
            </a:extLst>
          </p:cNvPr>
          <p:cNvPicPr>
            <a:picLocks noChangeAspect="1"/>
          </p:cNvPicPr>
          <p:nvPr/>
        </p:nvPicPr>
        <p:blipFill>
          <a:blip r:embed="rId5"/>
          <a:stretch>
            <a:fillRect/>
          </a:stretch>
        </p:blipFill>
        <p:spPr>
          <a:xfrm>
            <a:off x="1417042" y="1133578"/>
            <a:ext cx="1281638" cy="381876"/>
          </a:xfrm>
          <a:prstGeom prst="rect">
            <a:avLst/>
          </a:prstGeom>
        </p:spPr>
      </p:pic>
      <p:pic>
        <p:nvPicPr>
          <p:cNvPr id="7" name="Picture 6">
            <a:extLst>
              <a:ext uri="{FF2B5EF4-FFF2-40B4-BE49-F238E27FC236}">
                <a16:creationId xmlns:a16="http://schemas.microsoft.com/office/drawing/2014/main" id="{915676AD-ACC3-CB31-273C-86DB5F83BA15}"/>
              </a:ext>
            </a:extLst>
          </p:cNvPr>
          <p:cNvPicPr>
            <a:picLocks noChangeAspect="1"/>
          </p:cNvPicPr>
          <p:nvPr/>
        </p:nvPicPr>
        <p:blipFill>
          <a:blip r:embed="rId6"/>
          <a:stretch>
            <a:fillRect/>
          </a:stretch>
        </p:blipFill>
        <p:spPr>
          <a:xfrm>
            <a:off x="5259770" y="1017677"/>
            <a:ext cx="1239015" cy="357668"/>
          </a:xfrm>
          <a:prstGeom prst="rect">
            <a:avLst/>
          </a:prstGeom>
        </p:spPr>
      </p:pic>
      <p:pic>
        <p:nvPicPr>
          <p:cNvPr id="8" name="Picture 7">
            <a:extLst>
              <a:ext uri="{FF2B5EF4-FFF2-40B4-BE49-F238E27FC236}">
                <a16:creationId xmlns:a16="http://schemas.microsoft.com/office/drawing/2014/main" id="{A3CA1A3E-171A-B286-37A2-2E216C1CE37B}"/>
              </a:ext>
            </a:extLst>
          </p:cNvPr>
          <p:cNvPicPr>
            <a:picLocks noChangeAspect="1"/>
          </p:cNvPicPr>
          <p:nvPr/>
        </p:nvPicPr>
        <p:blipFill>
          <a:blip r:embed="rId7"/>
          <a:stretch>
            <a:fillRect/>
          </a:stretch>
        </p:blipFill>
        <p:spPr>
          <a:xfrm>
            <a:off x="9194741" y="1074488"/>
            <a:ext cx="1640359" cy="287063"/>
          </a:xfrm>
          <a:prstGeom prst="rect">
            <a:avLst/>
          </a:prstGeom>
        </p:spPr>
      </p:pic>
    </p:spTree>
    <p:extLst>
      <p:ext uri="{BB962C8B-B14F-4D97-AF65-F5344CB8AC3E}">
        <p14:creationId xmlns:p14="http://schemas.microsoft.com/office/powerpoint/2010/main" val="1661696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Slides (Misc)">
  <a:themeElements>
    <a:clrScheme name="Rogers">
      <a:dk1>
        <a:srgbClr val="000000"/>
      </a:dk1>
      <a:lt1>
        <a:srgbClr val="FFFFFF"/>
      </a:lt1>
      <a:dk2>
        <a:srgbClr val="777777"/>
      </a:dk2>
      <a:lt2>
        <a:srgbClr val="E8E8E8"/>
      </a:lt2>
      <a:accent1>
        <a:srgbClr val="DA291C"/>
      </a:accent1>
      <a:accent2>
        <a:srgbClr val="F6F6F6"/>
      </a:accent2>
      <a:accent3>
        <a:srgbClr val="515151"/>
      </a:accent3>
      <a:accent4>
        <a:srgbClr val="919191"/>
      </a:accent4>
      <a:accent5>
        <a:srgbClr val="CACACA"/>
      </a:accent5>
      <a:accent6>
        <a:srgbClr val="FFFFFF"/>
      </a:accent6>
      <a:hlink>
        <a:srgbClr val="DA291C"/>
      </a:hlink>
      <a:folHlink>
        <a:srgbClr val="777777"/>
      </a:folHlink>
    </a:clrScheme>
    <a:fontScheme name="Ted Next">
      <a:majorFont>
        <a:latin typeface="Ted Next Bold"/>
        <a:ea typeface=""/>
        <a:cs typeface=""/>
      </a:majorFont>
      <a:minorFont>
        <a:latin typeface="Ted Nex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B274312-65F0-AF4A-B932-FBDACC2C00F2}" vid="{97201B7B-93C7-174B-B4FE-9AD8F2B3612C}"/>
    </a:ext>
  </a:extLst>
</a:theme>
</file>

<file path=ppt/theme/theme2.xml><?xml version="1.0" encoding="utf-8"?>
<a:theme xmlns:a="http://schemas.openxmlformats.org/drawingml/2006/main" name="Content Slides (Text + Image)">
  <a:themeElements>
    <a:clrScheme name="Rogers">
      <a:dk1>
        <a:srgbClr val="000000"/>
      </a:dk1>
      <a:lt1>
        <a:srgbClr val="FFFFFF"/>
      </a:lt1>
      <a:dk2>
        <a:srgbClr val="777777"/>
      </a:dk2>
      <a:lt2>
        <a:srgbClr val="E8E8E8"/>
      </a:lt2>
      <a:accent1>
        <a:srgbClr val="DA291C"/>
      </a:accent1>
      <a:accent2>
        <a:srgbClr val="F6F6F6"/>
      </a:accent2>
      <a:accent3>
        <a:srgbClr val="515151"/>
      </a:accent3>
      <a:accent4>
        <a:srgbClr val="919191"/>
      </a:accent4>
      <a:accent5>
        <a:srgbClr val="CACACA"/>
      </a:accent5>
      <a:accent6>
        <a:srgbClr val="FFFFFF"/>
      </a:accent6>
      <a:hlink>
        <a:srgbClr val="DA291C"/>
      </a:hlink>
      <a:folHlink>
        <a:srgbClr val="777777"/>
      </a:folHlink>
    </a:clrScheme>
    <a:fontScheme name="Ted Next">
      <a:majorFont>
        <a:latin typeface="Ted Next Bold"/>
        <a:ea typeface=""/>
        <a:cs typeface=""/>
      </a:majorFont>
      <a:minorFont>
        <a:latin typeface="Ted Nex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B274312-65F0-AF4A-B932-FBDACC2C00F2}" vid="{7F518512-99C1-0A4E-85F5-95DE76F19AC7}"/>
    </a:ext>
  </a:extLst>
</a:theme>
</file>

<file path=ppt/theme/theme3.xml><?xml version="1.0" encoding="utf-8"?>
<a:theme xmlns:a="http://schemas.openxmlformats.org/drawingml/2006/main" name="Content Slides (Text)">
  <a:themeElements>
    <a:clrScheme name="Rogers">
      <a:dk1>
        <a:srgbClr val="000000"/>
      </a:dk1>
      <a:lt1>
        <a:srgbClr val="FFFFFF"/>
      </a:lt1>
      <a:dk2>
        <a:srgbClr val="777777"/>
      </a:dk2>
      <a:lt2>
        <a:srgbClr val="E8E8E8"/>
      </a:lt2>
      <a:accent1>
        <a:srgbClr val="DA291C"/>
      </a:accent1>
      <a:accent2>
        <a:srgbClr val="F6F6F6"/>
      </a:accent2>
      <a:accent3>
        <a:srgbClr val="515151"/>
      </a:accent3>
      <a:accent4>
        <a:srgbClr val="919191"/>
      </a:accent4>
      <a:accent5>
        <a:srgbClr val="CACACA"/>
      </a:accent5>
      <a:accent6>
        <a:srgbClr val="FFFFFF"/>
      </a:accent6>
      <a:hlink>
        <a:srgbClr val="DA291C"/>
      </a:hlink>
      <a:folHlink>
        <a:srgbClr val="777777"/>
      </a:folHlink>
    </a:clrScheme>
    <a:fontScheme name="Ted Next">
      <a:majorFont>
        <a:latin typeface="Ted Next Bold"/>
        <a:ea typeface=""/>
        <a:cs typeface=""/>
      </a:majorFont>
      <a:minorFont>
        <a:latin typeface="Ted Nex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B274312-65F0-AF4A-B932-FBDACC2C00F2}" vid="{3516366D-FC35-5046-8AB2-E64D2EB04C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0d32a06-1243-423d-ab0a-0e6c18e003c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ADEFD5858E894798E823CBA4EB3D81" ma:contentTypeVersion="18" ma:contentTypeDescription="Create a new document." ma:contentTypeScope="" ma:versionID="e3fe3193d6699e4d2090f03aa2418c37">
  <xsd:schema xmlns:xsd="http://www.w3.org/2001/XMLSchema" xmlns:xs="http://www.w3.org/2001/XMLSchema" xmlns:p="http://schemas.microsoft.com/office/2006/metadata/properties" xmlns:ns3="1a2ae03d-8b4b-4cd6-8c13-a62921aea169" xmlns:ns4="40d32a06-1243-423d-ab0a-0e6c18e003c0" targetNamespace="http://schemas.microsoft.com/office/2006/metadata/properties" ma:root="true" ma:fieldsID="3fe40ac00d6bc657f63377e76f40254e" ns3:_="" ns4:_="">
    <xsd:import namespace="1a2ae03d-8b4b-4cd6-8c13-a62921aea169"/>
    <xsd:import namespace="40d32a06-1243-423d-ab0a-0e6c18e003c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MediaServiceLocation" minOccurs="0"/>
                <xsd:element ref="ns4:MediaServiceAutoKeyPoints" minOccurs="0"/>
                <xsd:element ref="ns4:MediaServiceKeyPoint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2ae03d-8b4b-4cd6-8c13-a62921aea16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0d32a06-1243-423d-ab0a-0e6c18e003c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5B26F4-F55E-4226-BDE8-1437D43E19B7}">
  <ds:schemaRefs>
    <ds:schemaRef ds:uri="http://schemas.microsoft.com/sharepoint/v3/contenttype/forms"/>
  </ds:schemaRefs>
</ds:datastoreItem>
</file>

<file path=customXml/itemProps2.xml><?xml version="1.0" encoding="utf-8"?>
<ds:datastoreItem xmlns:ds="http://schemas.openxmlformats.org/officeDocument/2006/customXml" ds:itemID="{2ADEB59C-AC55-46E6-9367-85834537CA69}">
  <ds:schemaRefs>
    <ds:schemaRef ds:uri="http://www.w3.org/XML/1998/namespace"/>
    <ds:schemaRef ds:uri="1a2ae03d-8b4b-4cd6-8c13-a62921aea169"/>
    <ds:schemaRef ds:uri="http://purl.org/dc/elements/1.1/"/>
    <ds:schemaRef ds:uri="http://schemas.microsoft.com/office/2006/metadata/properties"/>
    <ds:schemaRef ds:uri="http://schemas.microsoft.com/office/2006/documentManagement/types"/>
    <ds:schemaRef ds:uri="40d32a06-1243-423d-ab0a-0e6c18e003c0"/>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3.xml><?xml version="1.0" encoding="utf-8"?>
<ds:datastoreItem xmlns:ds="http://schemas.openxmlformats.org/officeDocument/2006/customXml" ds:itemID="{5267DC1A-D152-4DE7-9D20-73AE1C69F4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2ae03d-8b4b-4cd6-8c13-a62921aea169"/>
    <ds:schemaRef ds:uri="40d32a06-1243-423d-ab0a-0e6c18e003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ntent Slides (Misc)</Template>
  <TotalTime>66</TotalTime>
  <Words>2557</Words>
  <Application>Microsoft Macintosh PowerPoint</Application>
  <PresentationFormat>Widescreen</PresentationFormat>
  <Paragraphs>206</Paragraphs>
  <Slides>16</Slides>
  <Notes>5</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3" baseType="lpstr">
      <vt:lpstr>-apple-system</vt:lpstr>
      <vt:lpstr>Aptos</vt:lpstr>
      <vt:lpstr>Arial</vt:lpstr>
      <vt:lpstr>Avenir Book</vt:lpstr>
      <vt:lpstr>Calibri</vt:lpstr>
      <vt:lpstr>Calibri Light</vt:lpstr>
      <vt:lpstr>Courier New</vt:lpstr>
      <vt:lpstr>System Font Regular</vt:lpstr>
      <vt:lpstr>Ted Next</vt:lpstr>
      <vt:lpstr>Ted Next DemiBold</vt:lpstr>
      <vt:lpstr>Ted Next Medium</vt:lpstr>
      <vt:lpstr>var(--artdeco-reset-typography-font-family-sans)</vt:lpstr>
      <vt:lpstr>Wingdings</vt:lpstr>
      <vt:lpstr>Content Slides (Misc)</vt:lpstr>
      <vt:lpstr>Content Slides (Text + Image)</vt:lpstr>
      <vt:lpstr>Content Slides (Text)</vt:lpstr>
      <vt:lpstr>think-cell Slide</vt:lpstr>
      <vt:lpstr>Network API Challenge | Institute for Computing, Information and Cognitive Systems (ICICS) (ubc.ca)</vt:lpstr>
      <vt:lpstr>Network API Challenge | Institute for Computing, Information and Cognitive Systems (ICICS) (ubc.ca)</vt:lpstr>
      <vt:lpstr>Project RAPID - Introduction and Program Overview Network APIs / Network as a Service</vt:lpstr>
      <vt:lpstr>Background: GSMA Open Gateway Network API</vt:lpstr>
      <vt:lpstr>Rogers RAPID ROADMAP</vt:lpstr>
      <vt:lpstr>Microsoft Azure Programable Connectivity (APC)</vt:lpstr>
      <vt:lpstr>GSMA Camara Standardized API List</vt:lpstr>
      <vt:lpstr>ROADMAP</vt:lpstr>
      <vt:lpstr>Rogers CAMARA Channels</vt:lpstr>
      <vt:lpstr>Network API Use Cases</vt:lpstr>
      <vt:lpstr>Usecases</vt:lpstr>
      <vt:lpstr>Usecases</vt:lpstr>
      <vt:lpstr>Usecases</vt:lpstr>
      <vt:lpstr>Consent Process</vt:lpstr>
      <vt:lpstr>Getting Started – Number Verification Spec</vt:lpstr>
      <vt:lpstr>Getting Started Rogers Reposito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nd Program Overview</dc:title>
  <dc:creator>Nicholas Manolakos</dc:creator>
  <cp:lastModifiedBy>Nicholas Manolakos</cp:lastModifiedBy>
  <cp:revision>12</cp:revision>
  <dcterms:created xsi:type="dcterms:W3CDTF">2024-09-10T14:05:05Z</dcterms:created>
  <dcterms:modified xsi:type="dcterms:W3CDTF">2024-09-22T17:4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ADEFD5858E894798E823CBA4EB3D81</vt:lpwstr>
  </property>
</Properties>
</file>